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2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729" r:id="rId3"/>
    <p:sldMasterId id="2147483742" r:id="rId4"/>
  </p:sldMasterIdLst>
  <p:notesMasterIdLst>
    <p:notesMasterId r:id="rId12"/>
  </p:notesMasterIdLst>
  <p:sldIdLst>
    <p:sldId id="2147374807" r:id="rId5"/>
    <p:sldId id="2147374860" r:id="rId6"/>
    <p:sldId id="2142533543" r:id="rId7"/>
    <p:sldId id="2147376782" r:id="rId8"/>
    <p:sldId id="2147376784" r:id="rId9"/>
    <p:sldId id="2147374877" r:id="rId10"/>
    <p:sldId id="2147376783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38506F-0A16-4AB5-B590-3EF818A8BD49}" type="datetimeFigureOut">
              <a:rPr lang="en-GB" smtClean="0"/>
              <a:t>03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356B7A-C9CA-4510-82A5-8A4199F7F08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7134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3461C-FA99-416F-B778-A9E5F86186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1430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3461C-FA99-416F-B778-A9E5F86186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2637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3461C-FA99-416F-B778-A9E5F86186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16863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C3461C-FA99-416F-B778-A9E5F861861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6105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E9CA115-D4CC-4900-9641-B4B0A76DC997}"/>
              </a:ext>
            </a:extLst>
          </p:cNvPr>
          <p:cNvSpPr/>
          <p:nvPr userDrawn="1"/>
        </p:nvSpPr>
        <p:spPr>
          <a:xfrm>
            <a:off x="80682" y="0"/>
            <a:ext cx="2277036" cy="1882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2BA95A-D0DF-43EF-AEFB-D1BCA0C1B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5012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9F172A-FEB2-4778-9280-4CD43DB37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Picture Placeholder 31">
            <a:extLst>
              <a:ext uri="{FF2B5EF4-FFF2-40B4-BE49-F238E27FC236}">
                <a16:creationId xmlns:a16="http://schemas.microsoft.com/office/drawing/2014/main" id="{48B245CE-AE53-4C52-9A3A-B448D31515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black">
          <a:xfrm>
            <a:off x="3403600" y="3016449"/>
            <a:ext cx="2620963" cy="2728714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Insert picture her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E6BF6E85-3F08-4B27-80B5-5D0660EF41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636588" y="1778000"/>
            <a:ext cx="2620190" cy="1238449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108000" tIns="108000" rIns="36000" bIns="36000" rtlCol="0">
            <a:noAutofit/>
          </a:bodyPr>
          <a:lstStyle>
            <a:lvl1pPr>
              <a:defRPr lang="en-US" sz="2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D0BB816-440B-48E7-9204-8324120645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6" name="Picture Placeholder 31">
            <a:extLst>
              <a:ext uri="{FF2B5EF4-FFF2-40B4-BE49-F238E27FC236}">
                <a16:creationId xmlns:a16="http://schemas.microsoft.com/office/drawing/2014/main" id="{72B4E56B-6C2B-4B29-AA4D-3B95C5825D7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black">
          <a:xfrm>
            <a:off x="635001" y="3016449"/>
            <a:ext cx="2620963" cy="2728714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Insert picture her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D33E9765-319D-4AA6-9FF8-F2F2ECED7F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3405188" y="1778000"/>
            <a:ext cx="2620190" cy="1238449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108000" tIns="108000" rIns="36000" bIns="36000" rtlCol="0">
            <a:noAutofit/>
          </a:bodyPr>
          <a:lstStyle>
            <a:lvl1pPr>
              <a:defRPr lang="en-US" sz="2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9" name="Picture Placeholder 31">
            <a:extLst>
              <a:ext uri="{FF2B5EF4-FFF2-40B4-BE49-F238E27FC236}">
                <a16:creationId xmlns:a16="http://schemas.microsoft.com/office/drawing/2014/main" id="{FE6BBC14-9401-4A97-B3D5-88D1D3631C5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black">
          <a:xfrm>
            <a:off x="8943974" y="3016449"/>
            <a:ext cx="2620963" cy="2728714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Insert picture her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8A66161-4CB2-46B7-849C-4C13C274F1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6176962" y="1778000"/>
            <a:ext cx="2620190" cy="1238449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108000" tIns="108000" rIns="36000" bIns="36000" rtlCol="0">
            <a:noAutofit/>
          </a:bodyPr>
          <a:lstStyle>
            <a:lvl1pPr>
              <a:defRPr lang="en-US" sz="2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1" name="Picture Placeholder 31">
            <a:extLst>
              <a:ext uri="{FF2B5EF4-FFF2-40B4-BE49-F238E27FC236}">
                <a16:creationId xmlns:a16="http://schemas.microsoft.com/office/drawing/2014/main" id="{817FB86C-DE9A-48E7-9CB0-08082D799AB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black">
          <a:xfrm>
            <a:off x="6175375" y="3016449"/>
            <a:ext cx="2620963" cy="2728714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Insert picture here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3BD53310-741A-4C76-AEB7-AF668EF3F9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8945562" y="1778000"/>
            <a:ext cx="2620190" cy="1238449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108000" tIns="108000" rIns="36000" bIns="36000" rtlCol="0">
            <a:noAutofit/>
          </a:bodyPr>
          <a:lstStyle>
            <a:lvl1pPr>
              <a:defRPr lang="en-US" sz="2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96900334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14">
            <a:extLst>
              <a:ext uri="{FF2B5EF4-FFF2-40B4-BE49-F238E27FC236}">
                <a16:creationId xmlns:a16="http://schemas.microsoft.com/office/drawing/2014/main" id="{4786B320-D8D1-4625-B36D-D278080C9418}"/>
              </a:ext>
            </a:extLst>
          </p:cNvPr>
          <p:cNvSpPr>
            <a:spLocks noGrp="1"/>
          </p:cNvSpPr>
          <p:nvPr>
            <p:ph type="chart" sz="quarter" idx="26" hasCustomPrompt="1"/>
          </p:nvPr>
        </p:nvSpPr>
        <p:spPr>
          <a:xfrm>
            <a:off x="624250" y="2191847"/>
            <a:ext cx="2250000" cy="370254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add chart</a:t>
            </a:r>
          </a:p>
        </p:txBody>
      </p:sp>
      <p:sp>
        <p:nvSpPr>
          <p:cNvPr id="16" name="Chart Placeholder 14">
            <a:extLst>
              <a:ext uri="{FF2B5EF4-FFF2-40B4-BE49-F238E27FC236}">
                <a16:creationId xmlns:a16="http://schemas.microsoft.com/office/drawing/2014/main" id="{298A8A07-8B59-44A7-89B3-A90E91280849}"/>
              </a:ext>
            </a:extLst>
          </p:cNvPr>
          <p:cNvSpPr>
            <a:spLocks noGrp="1"/>
          </p:cNvSpPr>
          <p:nvPr>
            <p:ph type="chart" sz="quarter" idx="27" hasCustomPrompt="1"/>
          </p:nvPr>
        </p:nvSpPr>
        <p:spPr>
          <a:xfrm>
            <a:off x="3522084" y="2190141"/>
            <a:ext cx="2250000" cy="370424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add chart</a:t>
            </a:r>
          </a:p>
        </p:txBody>
      </p:sp>
      <p:sp>
        <p:nvSpPr>
          <p:cNvPr id="17" name="Chart Placeholder 14">
            <a:extLst>
              <a:ext uri="{FF2B5EF4-FFF2-40B4-BE49-F238E27FC236}">
                <a16:creationId xmlns:a16="http://schemas.microsoft.com/office/drawing/2014/main" id="{7BF9ADD6-7635-4719-9294-2C7CB88A7AE7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6419917" y="2190141"/>
            <a:ext cx="2250000" cy="370424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add chart</a:t>
            </a:r>
          </a:p>
        </p:txBody>
      </p:sp>
      <p:sp>
        <p:nvSpPr>
          <p:cNvPr id="18" name="Chart Placeholder 14">
            <a:extLst>
              <a:ext uri="{FF2B5EF4-FFF2-40B4-BE49-F238E27FC236}">
                <a16:creationId xmlns:a16="http://schemas.microsoft.com/office/drawing/2014/main" id="{72CB465C-BA08-42D2-9D14-458C047620A0}"/>
              </a:ext>
            </a:extLst>
          </p:cNvPr>
          <p:cNvSpPr>
            <a:spLocks noGrp="1"/>
          </p:cNvSpPr>
          <p:nvPr>
            <p:ph type="chart" sz="quarter" idx="29" hasCustomPrompt="1"/>
          </p:nvPr>
        </p:nvSpPr>
        <p:spPr>
          <a:xfrm>
            <a:off x="9317752" y="2190142"/>
            <a:ext cx="2250000" cy="370424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/>
              <a:t>Click icon to </a:t>
            </a:r>
            <a:br>
              <a:rPr lang="en-GB" dirty="0"/>
            </a:br>
            <a:r>
              <a:rPr lang="en-GB" dirty="0"/>
              <a:t>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DEC67-67C4-4FAA-BCB6-6798DF2BD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04AC1-E4E2-4D9D-A2CB-493C0AF7AC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CDA7445-07F2-4CAC-A94F-72D4495ABC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8808572-41FF-DE4B-972D-5481B04684BA}"/>
              </a:ext>
            </a:extLst>
          </p:cNvPr>
          <p:cNvGrpSpPr/>
          <p:nvPr userDrawn="1"/>
        </p:nvGrpSpPr>
        <p:grpSpPr>
          <a:xfrm>
            <a:off x="3198168" y="1799999"/>
            <a:ext cx="5795668" cy="4094387"/>
            <a:chOff x="3198166" y="1800000"/>
            <a:chExt cx="5795668" cy="3870000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E751FE3-4D06-4123-B809-8230CB03938F}"/>
                </a:ext>
              </a:extLst>
            </p:cNvPr>
            <p:cNvCxnSpPr/>
            <p:nvPr userDrawn="1"/>
          </p:nvCxnSpPr>
          <p:spPr>
            <a:xfrm>
              <a:off x="3198166" y="1800000"/>
              <a:ext cx="0" cy="3870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C116C3B-948F-450B-B770-E7B633E3DAED}"/>
                </a:ext>
              </a:extLst>
            </p:cNvPr>
            <p:cNvCxnSpPr/>
            <p:nvPr userDrawn="1"/>
          </p:nvCxnSpPr>
          <p:spPr>
            <a:xfrm>
              <a:off x="6096000" y="1800000"/>
              <a:ext cx="0" cy="3870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CE454C4-45C0-4B1F-B312-F940122CB6CB}"/>
                </a:ext>
              </a:extLst>
            </p:cNvPr>
            <p:cNvCxnSpPr/>
            <p:nvPr userDrawn="1"/>
          </p:nvCxnSpPr>
          <p:spPr>
            <a:xfrm>
              <a:off x="8993834" y="1800000"/>
              <a:ext cx="0" cy="3870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9562D8D6-B317-C44A-9FBC-67A50E8503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1776346"/>
            <a:ext cx="2714626" cy="21150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AB88EDB-048B-6449-BCB3-CBDB824AE9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03425" y="1776346"/>
            <a:ext cx="2714626" cy="21150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1B32C2-AB03-2D45-95A5-944B4C0B18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1563" y="1776346"/>
            <a:ext cx="2714626" cy="21150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9A16684-A40E-5D4C-94E2-1CCC776BCB9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85439" y="1776346"/>
            <a:ext cx="2714626" cy="21150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066283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58A6A2E-4DA8-194F-AF69-32C04E2B8F5D}"/>
              </a:ext>
            </a:extLst>
          </p:cNvPr>
          <p:cNvSpPr/>
          <p:nvPr userDrawn="1"/>
        </p:nvSpPr>
        <p:spPr>
          <a:xfrm>
            <a:off x="0" y="0"/>
            <a:ext cx="12192000" cy="5896800"/>
          </a:xfrm>
          <a:prstGeom prst="rect">
            <a:avLst/>
          </a:prstGeom>
          <a:solidFill>
            <a:srgbClr val="F2F0F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F6798E1-770E-E24A-B91F-043C784E8887}"/>
              </a:ext>
            </a:extLst>
          </p:cNvPr>
          <p:cNvSpPr/>
          <p:nvPr userDrawn="1"/>
        </p:nvSpPr>
        <p:spPr>
          <a:xfrm rot="5400000">
            <a:off x="5700000" y="-12000"/>
            <a:ext cx="6480000" cy="6504000"/>
          </a:xfrm>
          <a:custGeom>
            <a:avLst/>
            <a:gdLst>
              <a:gd name="connsiteX0" fmla="*/ 0 w 6480000"/>
              <a:gd name="connsiteY0" fmla="*/ 4339731 h 6504000"/>
              <a:gd name="connsiteX1" fmla="*/ 0 w 6480000"/>
              <a:gd name="connsiteY1" fmla="*/ 1972269 h 6504000"/>
              <a:gd name="connsiteX2" fmla="*/ 47102 w 6480000"/>
              <a:gd name="connsiteY2" fmla="*/ 1852807 h 6504000"/>
              <a:gd name="connsiteX3" fmla="*/ 1980845 w 6480000"/>
              <a:gd name="connsiteY3" fmla="*/ 11156 h 6504000"/>
              <a:gd name="connsiteX4" fmla="*/ 2013815 w 6480000"/>
              <a:gd name="connsiteY4" fmla="*/ 0 h 6504000"/>
              <a:gd name="connsiteX5" fmla="*/ 4250185 w 6480000"/>
              <a:gd name="connsiteY5" fmla="*/ 0 h 6504000"/>
              <a:gd name="connsiteX6" fmla="*/ 4283155 w 6480000"/>
              <a:gd name="connsiteY6" fmla="*/ 11156 h 6504000"/>
              <a:gd name="connsiteX7" fmla="*/ 6480000 w 6480000"/>
              <a:gd name="connsiteY7" fmla="*/ 3156000 h 6504000"/>
              <a:gd name="connsiteX8" fmla="*/ 3132000 w 6480000"/>
              <a:gd name="connsiteY8" fmla="*/ 6504000 h 6504000"/>
              <a:gd name="connsiteX9" fmla="*/ 47102 w 6480000"/>
              <a:gd name="connsiteY9" fmla="*/ 4459193 h 6504000"/>
              <a:gd name="connsiteX10" fmla="*/ 0 w 6480000"/>
              <a:gd name="connsiteY10" fmla="*/ 4339731 h 6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80000" h="6504000">
                <a:moveTo>
                  <a:pt x="0" y="4339731"/>
                </a:moveTo>
                <a:lnTo>
                  <a:pt x="0" y="1972269"/>
                </a:lnTo>
                <a:lnTo>
                  <a:pt x="47102" y="1852807"/>
                </a:lnTo>
                <a:cubicBezTo>
                  <a:pt x="407116" y="1001640"/>
                  <a:pt x="1109114" y="330340"/>
                  <a:pt x="1980845" y="11156"/>
                </a:cubicBezTo>
                <a:lnTo>
                  <a:pt x="2013815" y="0"/>
                </a:lnTo>
                <a:lnTo>
                  <a:pt x="4250185" y="0"/>
                </a:lnTo>
                <a:lnTo>
                  <a:pt x="4283155" y="11156"/>
                </a:lnTo>
                <a:cubicBezTo>
                  <a:pt x="5565113" y="480544"/>
                  <a:pt x="6480000" y="1711430"/>
                  <a:pt x="6480000" y="3156000"/>
                </a:cubicBezTo>
                <a:cubicBezTo>
                  <a:pt x="6480000" y="5005049"/>
                  <a:pt x="4981049" y="6504000"/>
                  <a:pt x="3132000" y="6504000"/>
                </a:cubicBezTo>
                <a:cubicBezTo>
                  <a:pt x="1745213" y="6504000"/>
                  <a:pt x="555357" y="5660840"/>
                  <a:pt x="47102" y="4459193"/>
                </a:cubicBezTo>
                <a:lnTo>
                  <a:pt x="0" y="43397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C6D32F-807C-4EE5-B0E3-AB5DC671173C}"/>
              </a:ext>
            </a:extLst>
          </p:cNvPr>
          <p:cNvSpPr>
            <a:spLocks noChangeAspect="1"/>
          </p:cNvSpPr>
          <p:nvPr userDrawn="1"/>
        </p:nvSpPr>
        <p:spPr>
          <a:xfrm>
            <a:off x="900000" y="1728000"/>
            <a:ext cx="3960000" cy="396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DEC67-67C4-4FAA-BCB6-6798DF2BD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90" y="342000"/>
            <a:ext cx="5789612" cy="657799"/>
          </a:xfrm>
        </p:spPr>
        <p:txBody>
          <a:bodyPr/>
          <a:lstStyle/>
          <a:p>
            <a:r>
              <a:rPr lang="en-GB"/>
              <a:t>Click to edit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04AC1-E4E2-4D9D-A2CB-493C0AF7AC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CDA7445-07F2-4CAC-A94F-72D4495ABC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1EE6C78-6C9D-46F5-BED7-5118ED2EC447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396000" y="1980000"/>
            <a:ext cx="1259844" cy="126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Option for data point</a:t>
            </a:r>
            <a:endParaRPr lang="en-GB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B3B1842-3BCD-40A7-B137-7C45F402698F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5209520" y="1980000"/>
            <a:ext cx="1259844" cy="126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Option for data point</a:t>
            </a:r>
            <a:endParaRPr lang="en-GB"/>
          </a:p>
        </p:txBody>
      </p:sp>
      <p:sp>
        <p:nvSpPr>
          <p:cNvPr id="15" name="Chart Placeholder 14">
            <a:extLst>
              <a:ext uri="{FF2B5EF4-FFF2-40B4-BE49-F238E27FC236}">
                <a16:creationId xmlns:a16="http://schemas.microsoft.com/office/drawing/2014/main" id="{4786B320-D8D1-4625-B36D-D278080C9418}"/>
              </a:ext>
            </a:extLst>
          </p:cNvPr>
          <p:cNvSpPr>
            <a:spLocks noGrp="1"/>
          </p:cNvSpPr>
          <p:nvPr>
            <p:ph type="chart" sz="quarter" idx="26" hasCustomPrompt="1"/>
          </p:nvPr>
        </p:nvSpPr>
        <p:spPr>
          <a:xfrm>
            <a:off x="1761208" y="2285998"/>
            <a:ext cx="2237588" cy="3042001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GB" dirty="0"/>
              <a:t>Click to </a:t>
            </a:r>
          </a:p>
          <a:p>
            <a:r>
              <a:rPr lang="en-GB" dirty="0"/>
              <a:t>insert chart</a:t>
            </a:r>
          </a:p>
        </p:txBody>
      </p:sp>
      <p:sp>
        <p:nvSpPr>
          <p:cNvPr id="30" name="Chart Placeholder 14">
            <a:extLst>
              <a:ext uri="{FF2B5EF4-FFF2-40B4-BE49-F238E27FC236}">
                <a16:creationId xmlns:a16="http://schemas.microsoft.com/office/drawing/2014/main" id="{AF63756D-15EA-4FB3-B8F3-9476CD3B1EB3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6785302" y="972000"/>
            <a:ext cx="4501397" cy="4320000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GB" dirty="0"/>
              <a:t>Click to </a:t>
            </a:r>
          </a:p>
          <a:p>
            <a:r>
              <a:rPr lang="en-GB" dirty="0"/>
              <a:t>insert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E45C7E-AE38-3748-9D2C-54F3A5AB388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785302" y="591689"/>
            <a:ext cx="4501397" cy="21149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6DD7B3CC-6F8F-C147-8553-8B7429B8F49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61208" y="2075619"/>
            <a:ext cx="2237588" cy="210381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738943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(Circle)">
    <p:bg>
      <p:bgPr>
        <a:solidFill>
          <a:srgbClr val="F1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0164417-A289-284B-B77C-D183018DC5F3}"/>
              </a:ext>
            </a:extLst>
          </p:cNvPr>
          <p:cNvSpPr/>
          <p:nvPr userDrawn="1"/>
        </p:nvSpPr>
        <p:spPr>
          <a:xfrm rot="5400000">
            <a:off x="5700000" y="-12000"/>
            <a:ext cx="6480000" cy="6504000"/>
          </a:xfrm>
          <a:custGeom>
            <a:avLst/>
            <a:gdLst>
              <a:gd name="connsiteX0" fmla="*/ 0 w 6480000"/>
              <a:gd name="connsiteY0" fmla="*/ 4339731 h 6504000"/>
              <a:gd name="connsiteX1" fmla="*/ 0 w 6480000"/>
              <a:gd name="connsiteY1" fmla="*/ 1972269 h 6504000"/>
              <a:gd name="connsiteX2" fmla="*/ 47102 w 6480000"/>
              <a:gd name="connsiteY2" fmla="*/ 1852807 h 6504000"/>
              <a:gd name="connsiteX3" fmla="*/ 1980845 w 6480000"/>
              <a:gd name="connsiteY3" fmla="*/ 11156 h 6504000"/>
              <a:gd name="connsiteX4" fmla="*/ 2013815 w 6480000"/>
              <a:gd name="connsiteY4" fmla="*/ 0 h 6504000"/>
              <a:gd name="connsiteX5" fmla="*/ 4250185 w 6480000"/>
              <a:gd name="connsiteY5" fmla="*/ 0 h 6504000"/>
              <a:gd name="connsiteX6" fmla="*/ 4283155 w 6480000"/>
              <a:gd name="connsiteY6" fmla="*/ 11156 h 6504000"/>
              <a:gd name="connsiteX7" fmla="*/ 6480000 w 6480000"/>
              <a:gd name="connsiteY7" fmla="*/ 3156000 h 6504000"/>
              <a:gd name="connsiteX8" fmla="*/ 3132000 w 6480000"/>
              <a:gd name="connsiteY8" fmla="*/ 6504000 h 6504000"/>
              <a:gd name="connsiteX9" fmla="*/ 47102 w 6480000"/>
              <a:gd name="connsiteY9" fmla="*/ 4459193 h 6504000"/>
              <a:gd name="connsiteX10" fmla="*/ 0 w 6480000"/>
              <a:gd name="connsiteY10" fmla="*/ 4339731 h 6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80000" h="6504000">
                <a:moveTo>
                  <a:pt x="0" y="4339731"/>
                </a:moveTo>
                <a:lnTo>
                  <a:pt x="0" y="1972269"/>
                </a:lnTo>
                <a:lnTo>
                  <a:pt x="47102" y="1852807"/>
                </a:lnTo>
                <a:cubicBezTo>
                  <a:pt x="407116" y="1001640"/>
                  <a:pt x="1109114" y="330340"/>
                  <a:pt x="1980845" y="11156"/>
                </a:cubicBezTo>
                <a:lnTo>
                  <a:pt x="2013815" y="0"/>
                </a:lnTo>
                <a:lnTo>
                  <a:pt x="4250185" y="0"/>
                </a:lnTo>
                <a:lnTo>
                  <a:pt x="4283155" y="11156"/>
                </a:lnTo>
                <a:cubicBezTo>
                  <a:pt x="5565113" y="480544"/>
                  <a:pt x="6480000" y="1711430"/>
                  <a:pt x="6480000" y="3156000"/>
                </a:cubicBezTo>
                <a:cubicBezTo>
                  <a:pt x="6480000" y="5005049"/>
                  <a:pt x="4981049" y="6504000"/>
                  <a:pt x="3132000" y="6504000"/>
                </a:cubicBezTo>
                <a:cubicBezTo>
                  <a:pt x="1745213" y="6504000"/>
                  <a:pt x="555357" y="5660840"/>
                  <a:pt x="47102" y="4459193"/>
                </a:cubicBezTo>
                <a:lnTo>
                  <a:pt x="0" y="43397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DEC67-67C4-4FAA-BCB6-6798DF2BD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90" y="342000"/>
            <a:ext cx="5789612" cy="657799"/>
          </a:xfrm>
        </p:spPr>
        <p:txBody>
          <a:bodyPr/>
          <a:lstStyle/>
          <a:p>
            <a:r>
              <a:rPr lang="en-GB"/>
              <a:t>Click to edit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04AC1-E4E2-4D9D-A2CB-493C0AF7AC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CDA7445-07F2-4CAC-A94F-72D4495ABC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B3B1842-3BCD-40A7-B137-7C45F402698F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5209520" y="1980000"/>
            <a:ext cx="1259844" cy="126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Option for data point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40A6D77-D6D6-43DA-98FE-F6F4EBFAE51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5290" y="1761173"/>
            <a:ext cx="4632325" cy="41457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hart Placeholder 14">
            <a:extLst>
              <a:ext uri="{FF2B5EF4-FFF2-40B4-BE49-F238E27FC236}">
                <a16:creationId xmlns:a16="http://schemas.microsoft.com/office/drawing/2014/main" id="{655ADAD1-DB65-3B48-8D28-F238577FE89C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6785302" y="972000"/>
            <a:ext cx="4501397" cy="4320000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GB" dirty="0"/>
              <a:t>Click to </a:t>
            </a:r>
          </a:p>
          <a:p>
            <a:r>
              <a:rPr lang="en-GB" dirty="0"/>
              <a:t>insert char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1AE4268-0935-6B49-A232-465D9E3532D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785302" y="591689"/>
            <a:ext cx="4501397" cy="21149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915810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7DEC67-67C4-4FAA-BCB6-6798DF2BD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04AC1-E4E2-4D9D-A2CB-493C0AF7AC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CDA7445-07F2-4CAC-A94F-72D4495ABC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1" name="Chart Placeholder 14">
            <a:extLst>
              <a:ext uri="{FF2B5EF4-FFF2-40B4-BE49-F238E27FC236}">
                <a16:creationId xmlns:a16="http://schemas.microsoft.com/office/drawing/2014/main" id="{650689CC-0F86-4845-BA95-3DCB5EBB19ED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6184899" y="1620000"/>
            <a:ext cx="5610226" cy="4274388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GB" dirty="0"/>
              <a:t>Click to insert char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DEF20-E7A9-45CE-8D70-718CCDB18D8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95290" y="1761173"/>
            <a:ext cx="4645026" cy="4143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39875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C552D29-2031-4778-8D5C-91570D211BF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5897563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marR="0" indent="0" algn="ctr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Select the icon to insert an image.</a:t>
            </a:r>
          </a:p>
          <a:p>
            <a:pPr marL="0" marR="0" lvl="0" indent="0" algn="ctr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marR="0" lvl="0" indent="0" algn="ctr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r>
              <a:rPr lang="en-GB" dirty="0"/>
              <a:t>Visit www.ourtesco.com/bams for more cover image options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0A1494-7ABD-4AFA-BA22-E956D61DDC99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290" y="656410"/>
            <a:ext cx="6948485" cy="201734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6600" spc="-3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4526FD41-E817-DE42-BB93-ADDB4D33D1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064" y="5355772"/>
            <a:ext cx="5610452" cy="418012"/>
          </a:xfrm>
          <a:prstGeom prst="rect">
            <a:avLst/>
          </a:prstGeom>
        </p:spPr>
        <p:txBody>
          <a:bodyPr anchor="t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200" b="0" kern="1200" dirty="0">
                <a:solidFill>
                  <a:schemeClr val="bg1"/>
                </a:solidFill>
                <a:effectLst/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/>
              <a:t>Click to add d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90" y="4496889"/>
            <a:ext cx="6948485" cy="78631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GB"/>
              <a:t>Click to add presenter’s name, title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C7F365-5B84-4B5A-BA21-A2E4C0955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063" y="343672"/>
            <a:ext cx="4451349" cy="1489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F9775FE-BE78-43BD-BB7F-02948FB2B3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0461" y="6211559"/>
            <a:ext cx="1112521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040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3" descr="A person wearing a blue hat and holding a bunch of bananas&#10;&#10;Description automatically generated with medium confidence">
            <a:extLst>
              <a:ext uri="{FF2B5EF4-FFF2-40B4-BE49-F238E27FC236}">
                <a16:creationId xmlns:a16="http://schemas.microsoft.com/office/drawing/2014/main" id="{2245E0C1-B0F5-F043-BDDC-7A6122B4B3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-1200" y="-762"/>
            <a:ext cx="12192000" cy="589756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70A1494-7ABD-4AFA-BA22-E956D61DDC99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290" y="656408"/>
            <a:ext cx="6948485" cy="290460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6600" spc="-3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4526FD41-E817-DE42-BB93-ADDB4D33D1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064" y="5355772"/>
            <a:ext cx="5610452" cy="418012"/>
          </a:xfrm>
          <a:prstGeom prst="rect">
            <a:avLst/>
          </a:prstGeom>
        </p:spPr>
        <p:txBody>
          <a:bodyPr anchor="t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200" b="0" kern="1200" dirty="0">
                <a:solidFill>
                  <a:schemeClr val="bg1"/>
                </a:solidFill>
                <a:effectLst/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/>
              <a:t>Click to add d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90" y="4496889"/>
            <a:ext cx="6948485" cy="78631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GB"/>
              <a:t>Click to add presenter’s name, title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CDBFF5-04D8-5548-8FDA-C143591F20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505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nfo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8F8F267-B3A7-426C-B891-1B3CD5DCA16E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34BDE93-00CA-A749-9B86-6E101CDA6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90" y="656408"/>
            <a:ext cx="6948485" cy="290460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6600" spc="-3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5DA1B55-15BF-B04E-971C-3133A8DBC7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064" y="5355772"/>
            <a:ext cx="5610452" cy="418012"/>
          </a:xfrm>
          <a:prstGeom prst="rect">
            <a:avLst/>
          </a:prstGeom>
        </p:spPr>
        <p:txBody>
          <a:bodyPr anchor="t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200" b="0" kern="1200" dirty="0">
                <a:solidFill>
                  <a:schemeClr val="bg1"/>
                </a:solidFill>
                <a:effectLst/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/>
              <a:t>Click to add 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746C292-9B55-E445-A539-2D21B0EF8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90" y="4496889"/>
            <a:ext cx="6948485" cy="78631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GB"/>
              <a:t>Click to add presenter’s name, title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C207C8-7060-1B47-B914-E0C76DB266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0720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3628" y="483327"/>
            <a:ext cx="4106686" cy="257102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5600" spc="-30" baseline="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3628" y="3331030"/>
            <a:ext cx="4106686" cy="50945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accent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GB"/>
              <a:t>Click to add name or dat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EB1CA-D956-564A-BABC-2B31B1CC560B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F34CD-3104-C447-AF4C-AD6B43AF6B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129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3628" y="483327"/>
            <a:ext cx="4106686" cy="257102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5600" spc="-30" baseline="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3628" y="3331030"/>
            <a:ext cx="4106686" cy="50945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accent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GB"/>
              <a:t>Click to add name or dat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EB1CA-D956-564A-BABC-2B31B1CC560B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3A0E4D-0066-B949-8A51-895A1A6712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155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3628" y="483327"/>
            <a:ext cx="4106686" cy="257102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5600" spc="-30" baseline="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3628" y="3331030"/>
            <a:ext cx="4106686" cy="50945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accent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GB"/>
              <a:t>Click to add name or dat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EB1CA-D956-564A-BABC-2B31B1CC560B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E2B8A33-836A-6341-A3C2-651B414545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1829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85790" y="5426075"/>
            <a:ext cx="3240000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476000" y="5426075"/>
            <a:ext cx="3240000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8176873" y="5426075"/>
            <a:ext cx="3240000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37D4B-A5CF-40E1-9F2E-3F566AF68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5A56992-478D-4B59-86FF-ABAF4607CF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DF36C18-FA61-4C92-A07B-20113D4E4E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black">
          <a:xfrm>
            <a:off x="647248" y="1777998"/>
            <a:ext cx="3517080" cy="3517080"/>
          </a:xfrm>
          <a:custGeom>
            <a:avLst/>
            <a:gdLst>
              <a:gd name="connsiteX0" fmla="*/ 1758540 w 3517080"/>
              <a:gd name="connsiteY0" fmla="*/ 0 h 3517080"/>
              <a:gd name="connsiteX1" fmla="*/ 3517080 w 3517080"/>
              <a:gd name="connsiteY1" fmla="*/ 1758540 h 3517080"/>
              <a:gd name="connsiteX2" fmla="*/ 1758540 w 3517080"/>
              <a:gd name="connsiteY2" fmla="*/ 3517080 h 3517080"/>
              <a:gd name="connsiteX3" fmla="*/ 0 w 3517080"/>
              <a:gd name="connsiteY3" fmla="*/ 1758540 h 3517080"/>
              <a:gd name="connsiteX4" fmla="*/ 1758540 w 3517080"/>
              <a:gd name="connsiteY4" fmla="*/ 0 h 3517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7080" h="3517080">
                <a:moveTo>
                  <a:pt x="1758540" y="0"/>
                </a:moveTo>
                <a:cubicBezTo>
                  <a:pt x="2729755" y="0"/>
                  <a:pt x="3517080" y="787325"/>
                  <a:pt x="3517080" y="1758540"/>
                </a:cubicBezTo>
                <a:cubicBezTo>
                  <a:pt x="3517080" y="2729755"/>
                  <a:pt x="2729755" y="3517080"/>
                  <a:pt x="1758540" y="3517080"/>
                </a:cubicBezTo>
                <a:cubicBezTo>
                  <a:pt x="787325" y="3517080"/>
                  <a:pt x="0" y="2729755"/>
                  <a:pt x="0" y="1758540"/>
                </a:cubicBezTo>
                <a:cubicBezTo>
                  <a:pt x="0" y="787325"/>
                  <a:pt x="787325" y="0"/>
                  <a:pt x="175854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smtClean="0">
                <a:solidFill>
                  <a:schemeClr val="bg1"/>
                </a:solidFill>
              </a:defRPr>
            </a:lvl1pPr>
            <a:lvl2pPr algn="ctr">
              <a:defRPr lang="en-US" sz="1600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 algn="ctr"/>
            <a:r>
              <a:rPr lang="en-US" dirty="0"/>
              <a:t>Second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64A5D9C-E1FD-4602-8F8D-D38031FF5E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black">
          <a:xfrm>
            <a:off x="4347914" y="1777999"/>
            <a:ext cx="3517080" cy="3517080"/>
          </a:xfrm>
          <a:custGeom>
            <a:avLst/>
            <a:gdLst>
              <a:gd name="connsiteX0" fmla="*/ 1758540 w 3517080"/>
              <a:gd name="connsiteY0" fmla="*/ 0 h 3517080"/>
              <a:gd name="connsiteX1" fmla="*/ 3517080 w 3517080"/>
              <a:gd name="connsiteY1" fmla="*/ 1758540 h 3517080"/>
              <a:gd name="connsiteX2" fmla="*/ 1758540 w 3517080"/>
              <a:gd name="connsiteY2" fmla="*/ 3517080 h 3517080"/>
              <a:gd name="connsiteX3" fmla="*/ 0 w 3517080"/>
              <a:gd name="connsiteY3" fmla="*/ 1758540 h 3517080"/>
              <a:gd name="connsiteX4" fmla="*/ 1758540 w 3517080"/>
              <a:gd name="connsiteY4" fmla="*/ 0 h 3517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7080" h="3517080">
                <a:moveTo>
                  <a:pt x="1758540" y="0"/>
                </a:moveTo>
                <a:cubicBezTo>
                  <a:pt x="2729755" y="0"/>
                  <a:pt x="3517080" y="787325"/>
                  <a:pt x="3517080" y="1758540"/>
                </a:cubicBezTo>
                <a:cubicBezTo>
                  <a:pt x="3517080" y="2729755"/>
                  <a:pt x="2729755" y="3517080"/>
                  <a:pt x="1758540" y="3517080"/>
                </a:cubicBezTo>
                <a:cubicBezTo>
                  <a:pt x="787325" y="3517080"/>
                  <a:pt x="0" y="2729755"/>
                  <a:pt x="0" y="1758540"/>
                </a:cubicBezTo>
                <a:cubicBezTo>
                  <a:pt x="0" y="787325"/>
                  <a:pt x="787325" y="0"/>
                  <a:pt x="175854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kern="1200" dirty="0">
                <a:solidFill>
                  <a:schemeClr val="bg1"/>
                </a:solidFill>
                <a:latin typeface="TESCO Modern" panose="02000506030000020004" pitchFamily="2" charset="0"/>
                <a:ea typeface="+mn-ea"/>
                <a:cs typeface="+mn-cs"/>
              </a:defRPr>
            </a:lvl1pPr>
            <a:lvl2pPr algn="ctr">
              <a:defRPr lang="en-US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 algn="ctr"/>
            <a:r>
              <a:rPr lang="en-US" dirty="0"/>
              <a:t>Second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2DCD614-D095-4149-B55E-92735E18EB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black">
          <a:xfrm>
            <a:off x="8038332" y="1777999"/>
            <a:ext cx="3517080" cy="3517080"/>
          </a:xfrm>
          <a:custGeom>
            <a:avLst/>
            <a:gdLst>
              <a:gd name="connsiteX0" fmla="*/ 1758540 w 3517080"/>
              <a:gd name="connsiteY0" fmla="*/ 0 h 3517080"/>
              <a:gd name="connsiteX1" fmla="*/ 3517080 w 3517080"/>
              <a:gd name="connsiteY1" fmla="*/ 1758540 h 3517080"/>
              <a:gd name="connsiteX2" fmla="*/ 1758540 w 3517080"/>
              <a:gd name="connsiteY2" fmla="*/ 3517080 h 3517080"/>
              <a:gd name="connsiteX3" fmla="*/ 0 w 3517080"/>
              <a:gd name="connsiteY3" fmla="*/ 1758540 h 3517080"/>
              <a:gd name="connsiteX4" fmla="*/ 1758540 w 3517080"/>
              <a:gd name="connsiteY4" fmla="*/ 0 h 3517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7080" h="3517080">
                <a:moveTo>
                  <a:pt x="1758540" y="0"/>
                </a:moveTo>
                <a:cubicBezTo>
                  <a:pt x="2729755" y="0"/>
                  <a:pt x="3517080" y="787325"/>
                  <a:pt x="3517080" y="1758540"/>
                </a:cubicBezTo>
                <a:cubicBezTo>
                  <a:pt x="3517080" y="2729755"/>
                  <a:pt x="2729755" y="3517080"/>
                  <a:pt x="1758540" y="3517080"/>
                </a:cubicBezTo>
                <a:cubicBezTo>
                  <a:pt x="787325" y="3517080"/>
                  <a:pt x="0" y="2729755"/>
                  <a:pt x="0" y="1758540"/>
                </a:cubicBezTo>
                <a:cubicBezTo>
                  <a:pt x="0" y="787325"/>
                  <a:pt x="787325" y="0"/>
                  <a:pt x="1758540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kern="1200" dirty="0">
                <a:solidFill>
                  <a:schemeClr val="bg1"/>
                </a:solidFill>
                <a:latin typeface="TESCO Modern" panose="02000506030000020004" pitchFamily="2" charset="0"/>
                <a:ea typeface="+mn-ea"/>
                <a:cs typeface="+mn-cs"/>
              </a:defRPr>
            </a:lvl1pPr>
            <a:lvl2pPr algn="ctr">
              <a:defRPr lang="en-US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 algn="ctr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46356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Templa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3628" y="483327"/>
            <a:ext cx="4106686" cy="257102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5600" spc="-30" baseline="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Insert background</a:t>
            </a:r>
            <a:br>
              <a:rPr lang="en-US"/>
            </a:br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3628" y="3331030"/>
            <a:ext cx="4106686" cy="50945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accent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Visit BAMS for image op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EB1CA-D956-564A-BABC-2B31B1CC560B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B2AB01-2C0A-C74E-B1C7-F6650C9F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7FA30CF4-A3A0-7647-B75A-420655B253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black">
          <a:xfrm>
            <a:off x="0" y="1"/>
            <a:ext cx="12192000" cy="5892419"/>
          </a:xfrm>
          <a:custGeom>
            <a:avLst/>
            <a:gdLst>
              <a:gd name="connsiteX0" fmla="*/ 0 w 12192000"/>
              <a:gd name="connsiteY0" fmla="*/ 0 h 5892419"/>
              <a:gd name="connsiteX1" fmla="*/ 200591 w 12192000"/>
              <a:gd name="connsiteY1" fmla="*/ 0 h 5892419"/>
              <a:gd name="connsiteX2" fmla="*/ 575733 w 12192000"/>
              <a:gd name="connsiteY2" fmla="*/ 0 h 5892419"/>
              <a:gd name="connsiteX3" fmla="*/ 584905 w 12192000"/>
              <a:gd name="connsiteY3" fmla="*/ 0 h 5892419"/>
              <a:gd name="connsiteX4" fmla="*/ 584905 w 12192000"/>
              <a:gd name="connsiteY4" fmla="*/ 4055533 h 5892419"/>
              <a:gd name="connsiteX5" fmla="*/ 5410200 w 12192000"/>
              <a:gd name="connsiteY5" fmla="*/ 4055533 h 5892419"/>
              <a:gd name="connsiteX6" fmla="*/ 5410200 w 12192000"/>
              <a:gd name="connsiteY6" fmla="*/ 4044951 h 5892419"/>
              <a:gd name="connsiteX7" fmla="*/ 5416550 w 12192000"/>
              <a:gd name="connsiteY7" fmla="*/ 4044951 h 5892419"/>
              <a:gd name="connsiteX8" fmla="*/ 5416550 w 12192000"/>
              <a:gd name="connsiteY8" fmla="*/ 3048 h 5892419"/>
              <a:gd name="connsiteX9" fmla="*/ 5410200 w 12192000"/>
              <a:gd name="connsiteY9" fmla="*/ 3048 h 5892419"/>
              <a:gd name="connsiteX10" fmla="*/ 5410200 w 12192000"/>
              <a:gd name="connsiteY10" fmla="*/ 0 h 5892419"/>
              <a:gd name="connsiteX11" fmla="*/ 12192000 w 12192000"/>
              <a:gd name="connsiteY11" fmla="*/ 0 h 5892419"/>
              <a:gd name="connsiteX12" fmla="*/ 12192000 w 12192000"/>
              <a:gd name="connsiteY12" fmla="*/ 5892419 h 5892419"/>
              <a:gd name="connsiteX13" fmla="*/ 0 w 12192000"/>
              <a:gd name="connsiteY13" fmla="*/ 5892419 h 5892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5892419">
                <a:moveTo>
                  <a:pt x="0" y="0"/>
                </a:moveTo>
                <a:lnTo>
                  <a:pt x="200591" y="0"/>
                </a:lnTo>
                <a:lnTo>
                  <a:pt x="575733" y="0"/>
                </a:lnTo>
                <a:lnTo>
                  <a:pt x="584905" y="0"/>
                </a:lnTo>
                <a:lnTo>
                  <a:pt x="584905" y="4055533"/>
                </a:lnTo>
                <a:lnTo>
                  <a:pt x="5410200" y="4055533"/>
                </a:lnTo>
                <a:lnTo>
                  <a:pt x="5410200" y="4044951"/>
                </a:lnTo>
                <a:lnTo>
                  <a:pt x="5416550" y="4044951"/>
                </a:lnTo>
                <a:lnTo>
                  <a:pt x="5416550" y="3048"/>
                </a:lnTo>
                <a:lnTo>
                  <a:pt x="5410200" y="3048"/>
                </a:lnTo>
                <a:lnTo>
                  <a:pt x="5410200" y="0"/>
                </a:lnTo>
                <a:lnTo>
                  <a:pt x="12192000" y="0"/>
                </a:lnTo>
                <a:lnTo>
                  <a:pt x="12192000" y="5892419"/>
                </a:lnTo>
                <a:lnTo>
                  <a:pt x="0" y="589241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rIns="1872000" anchor="ctr">
            <a:noAutofit/>
          </a:bodyPr>
          <a:lstStyle>
            <a:lvl1pPr marL="0" indent="0" algn="r">
              <a:tabLst>
                <a:tab pos="2438431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4761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rg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9AC704D-7965-4A14-AFB7-84C795D77B4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89" y="1789715"/>
            <a:ext cx="5610226" cy="417359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75000"/>
              </a:lnSpc>
              <a:defRPr sz="8800" b="0" spc="-3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0223A13-E3D5-D74A-A941-461B7DFEDB6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562001" y="0"/>
            <a:ext cx="6630000" cy="5623200"/>
          </a:xfrm>
          <a:custGeom>
            <a:avLst/>
            <a:gdLst>
              <a:gd name="connsiteX0" fmla="*/ 218232 w 6630000"/>
              <a:gd name="connsiteY0" fmla="*/ 0 h 5623200"/>
              <a:gd name="connsiteX1" fmla="*/ 6630000 w 6630000"/>
              <a:gd name="connsiteY1" fmla="*/ 0 h 5623200"/>
              <a:gd name="connsiteX2" fmla="*/ 6630000 w 6630000"/>
              <a:gd name="connsiteY2" fmla="*/ 4915659 h 5623200"/>
              <a:gd name="connsiteX3" fmla="*/ 6491743 w 6630000"/>
              <a:gd name="connsiteY3" fmla="*/ 5004294 h 5623200"/>
              <a:gd name="connsiteX4" fmla="*/ 4275000 w 6630000"/>
              <a:gd name="connsiteY4" fmla="*/ 5623200 h 5623200"/>
              <a:gd name="connsiteX5" fmla="*/ 0 w 6630000"/>
              <a:gd name="connsiteY5" fmla="*/ 1348200 h 5623200"/>
              <a:gd name="connsiteX6" fmla="*/ 192196 w 6630000"/>
              <a:gd name="connsiteY6" fmla="*/ 76946 h 562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30000" h="5623200">
                <a:moveTo>
                  <a:pt x="218232" y="0"/>
                </a:moveTo>
                <a:lnTo>
                  <a:pt x="6630000" y="0"/>
                </a:lnTo>
                <a:lnTo>
                  <a:pt x="6630000" y="4915659"/>
                </a:lnTo>
                <a:lnTo>
                  <a:pt x="6491743" y="5004294"/>
                </a:lnTo>
                <a:cubicBezTo>
                  <a:pt x="5845376" y="5397036"/>
                  <a:pt x="5086600" y="5623200"/>
                  <a:pt x="4275000" y="5623200"/>
                </a:cubicBezTo>
                <a:cubicBezTo>
                  <a:pt x="1913983" y="5623200"/>
                  <a:pt x="0" y="3709217"/>
                  <a:pt x="0" y="1348200"/>
                </a:cubicBezTo>
                <a:cubicBezTo>
                  <a:pt x="0" y="905510"/>
                  <a:pt x="67289" y="478535"/>
                  <a:pt x="192196" y="76946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01BCFA-203A-6642-9409-C48AA8112C78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0290F2-B59C-4147-985B-281D991237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35C7670-8B15-1948-8BF4-8FC81A0A1F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064" y="395288"/>
            <a:ext cx="5610452" cy="418012"/>
          </a:xfrm>
          <a:prstGeom prst="rect">
            <a:avLst/>
          </a:prstGeom>
        </p:spPr>
        <p:txBody>
          <a:bodyPr anchor="t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200" b="0" kern="1200" dirty="0">
                <a:solidFill>
                  <a:schemeClr val="tx1"/>
                </a:solidFill>
                <a:effectLst/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28495039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Quo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edia Placeholder 14">
            <a:extLst>
              <a:ext uri="{FF2B5EF4-FFF2-40B4-BE49-F238E27FC236}">
                <a16:creationId xmlns:a16="http://schemas.microsoft.com/office/drawing/2014/main" id="{9B29E03F-646A-45B2-8848-64C25CF52CE1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black">
          <a:xfrm>
            <a:off x="3293400" y="2996911"/>
            <a:ext cx="2712116" cy="3044420"/>
          </a:xfrm>
          <a:custGeom>
            <a:avLst/>
            <a:gdLst>
              <a:gd name="connsiteX0" fmla="*/ 0 w 2744787"/>
              <a:gd name="connsiteY0" fmla="*/ 0 h 3044420"/>
              <a:gd name="connsiteX1" fmla="*/ 2744787 w 2744787"/>
              <a:gd name="connsiteY1" fmla="*/ 0 h 3044420"/>
              <a:gd name="connsiteX2" fmla="*/ 2744787 w 2744787"/>
              <a:gd name="connsiteY2" fmla="*/ 2736850 h 3044420"/>
              <a:gd name="connsiteX3" fmla="*/ 2533247 w 2744787"/>
              <a:gd name="connsiteY3" fmla="*/ 2736850 h 3044420"/>
              <a:gd name="connsiteX4" fmla="*/ 2225676 w 2744787"/>
              <a:gd name="connsiteY4" fmla="*/ 3044420 h 3044420"/>
              <a:gd name="connsiteX5" fmla="*/ 1918107 w 2744787"/>
              <a:gd name="connsiteY5" fmla="*/ 2736850 h 3044420"/>
              <a:gd name="connsiteX6" fmla="*/ 0 w 2744787"/>
              <a:gd name="connsiteY6" fmla="*/ 2736850 h 3044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4787" h="3044420">
                <a:moveTo>
                  <a:pt x="0" y="0"/>
                </a:moveTo>
                <a:lnTo>
                  <a:pt x="2744787" y="0"/>
                </a:lnTo>
                <a:lnTo>
                  <a:pt x="2744787" y="2736850"/>
                </a:lnTo>
                <a:lnTo>
                  <a:pt x="2533247" y="2736850"/>
                </a:lnTo>
                <a:lnTo>
                  <a:pt x="2225676" y="3044420"/>
                </a:lnTo>
                <a:lnTo>
                  <a:pt x="1918107" y="2736850"/>
                </a:lnTo>
                <a:lnTo>
                  <a:pt x="0" y="27368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icon to add media</a:t>
            </a:r>
            <a:endParaRPr lang="en-GB" dirty="0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212B6994-A614-4152-88EF-23F034FB9457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black">
          <a:xfrm>
            <a:off x="6189000" y="1268228"/>
            <a:ext cx="2706793" cy="3044420"/>
          </a:xfrm>
          <a:custGeom>
            <a:avLst/>
            <a:gdLst>
              <a:gd name="connsiteX0" fmla="*/ 0 w 2744787"/>
              <a:gd name="connsiteY0" fmla="*/ 0 h 3044420"/>
              <a:gd name="connsiteX1" fmla="*/ 2744787 w 2744787"/>
              <a:gd name="connsiteY1" fmla="*/ 0 h 3044420"/>
              <a:gd name="connsiteX2" fmla="*/ 2744787 w 2744787"/>
              <a:gd name="connsiteY2" fmla="*/ 2736850 h 3044420"/>
              <a:gd name="connsiteX3" fmla="*/ 2533247 w 2744787"/>
              <a:gd name="connsiteY3" fmla="*/ 2736850 h 3044420"/>
              <a:gd name="connsiteX4" fmla="*/ 2225676 w 2744787"/>
              <a:gd name="connsiteY4" fmla="*/ 3044420 h 3044420"/>
              <a:gd name="connsiteX5" fmla="*/ 1918107 w 2744787"/>
              <a:gd name="connsiteY5" fmla="*/ 2736850 h 3044420"/>
              <a:gd name="connsiteX6" fmla="*/ 0 w 2744787"/>
              <a:gd name="connsiteY6" fmla="*/ 2736850 h 3044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4787" h="3044420">
                <a:moveTo>
                  <a:pt x="0" y="0"/>
                </a:moveTo>
                <a:lnTo>
                  <a:pt x="2744787" y="0"/>
                </a:lnTo>
                <a:lnTo>
                  <a:pt x="2744787" y="2736850"/>
                </a:lnTo>
                <a:lnTo>
                  <a:pt x="2533247" y="2736850"/>
                </a:lnTo>
                <a:lnTo>
                  <a:pt x="2225676" y="3044420"/>
                </a:lnTo>
                <a:lnTo>
                  <a:pt x="1918107" y="2736850"/>
                </a:lnTo>
                <a:lnTo>
                  <a:pt x="0" y="2736850"/>
                </a:lnTo>
                <a:close/>
              </a:path>
            </a:pathLst>
          </a:custGeom>
          <a:solidFill>
            <a:srgbClr val="F1F0F0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icon to add media</a:t>
            </a:r>
            <a:endParaRPr lang="en-GB" dirty="0"/>
          </a:p>
        </p:txBody>
      </p:sp>
      <p:sp>
        <p:nvSpPr>
          <p:cNvPr id="17" name="Media Placeholder 16">
            <a:extLst>
              <a:ext uri="{FF2B5EF4-FFF2-40B4-BE49-F238E27FC236}">
                <a16:creationId xmlns:a16="http://schemas.microsoft.com/office/drawing/2014/main" id="{5201B325-62CC-42FD-A7BE-1C1FC2864B6D}"/>
              </a:ext>
            </a:extLst>
          </p:cNvPr>
          <p:cNvSpPr>
            <a:spLocks noGrp="1"/>
          </p:cNvSpPr>
          <p:nvPr>
            <p:ph type="media" sz="quarter" idx="21"/>
          </p:nvPr>
        </p:nvSpPr>
        <p:spPr bwMode="black">
          <a:xfrm>
            <a:off x="9080501" y="2406849"/>
            <a:ext cx="2703276" cy="3044420"/>
          </a:xfrm>
          <a:custGeom>
            <a:avLst/>
            <a:gdLst>
              <a:gd name="connsiteX0" fmla="*/ 0 w 2744787"/>
              <a:gd name="connsiteY0" fmla="*/ 0 h 3044420"/>
              <a:gd name="connsiteX1" fmla="*/ 2744787 w 2744787"/>
              <a:gd name="connsiteY1" fmla="*/ 0 h 3044420"/>
              <a:gd name="connsiteX2" fmla="*/ 2744787 w 2744787"/>
              <a:gd name="connsiteY2" fmla="*/ 2736850 h 3044420"/>
              <a:gd name="connsiteX3" fmla="*/ 2533247 w 2744787"/>
              <a:gd name="connsiteY3" fmla="*/ 2736850 h 3044420"/>
              <a:gd name="connsiteX4" fmla="*/ 2225676 w 2744787"/>
              <a:gd name="connsiteY4" fmla="*/ 3044420 h 3044420"/>
              <a:gd name="connsiteX5" fmla="*/ 1918107 w 2744787"/>
              <a:gd name="connsiteY5" fmla="*/ 2736850 h 3044420"/>
              <a:gd name="connsiteX6" fmla="*/ 0 w 2744787"/>
              <a:gd name="connsiteY6" fmla="*/ 2736850 h 3044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4787" h="3044420">
                <a:moveTo>
                  <a:pt x="0" y="0"/>
                </a:moveTo>
                <a:lnTo>
                  <a:pt x="2744787" y="0"/>
                </a:lnTo>
                <a:lnTo>
                  <a:pt x="2744787" y="2736850"/>
                </a:lnTo>
                <a:lnTo>
                  <a:pt x="2533247" y="2736850"/>
                </a:lnTo>
                <a:lnTo>
                  <a:pt x="2225676" y="3044420"/>
                </a:lnTo>
                <a:lnTo>
                  <a:pt x="1918107" y="2736850"/>
                </a:lnTo>
                <a:lnTo>
                  <a:pt x="0" y="27368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icon to add media</a:t>
            </a:r>
            <a:endParaRPr lang="en-GB" dirty="0"/>
          </a:p>
        </p:txBody>
      </p:sp>
      <p:sp>
        <p:nvSpPr>
          <p:cNvPr id="14" name="Media Placeholder 13">
            <a:extLst>
              <a:ext uri="{FF2B5EF4-FFF2-40B4-BE49-F238E27FC236}">
                <a16:creationId xmlns:a16="http://schemas.microsoft.com/office/drawing/2014/main" id="{37986B13-2570-4179-8050-E2654C127CF8}"/>
              </a:ext>
            </a:extLst>
          </p:cNvPr>
          <p:cNvSpPr>
            <a:spLocks noGrp="1"/>
          </p:cNvSpPr>
          <p:nvPr>
            <p:ph type="media" sz="quarter" idx="18"/>
          </p:nvPr>
        </p:nvSpPr>
        <p:spPr bwMode="black">
          <a:xfrm>
            <a:off x="395290" y="2055813"/>
            <a:ext cx="2714626" cy="3044420"/>
          </a:xfrm>
          <a:custGeom>
            <a:avLst/>
            <a:gdLst>
              <a:gd name="connsiteX0" fmla="*/ 0 w 2744787"/>
              <a:gd name="connsiteY0" fmla="*/ 0 h 3044420"/>
              <a:gd name="connsiteX1" fmla="*/ 2744787 w 2744787"/>
              <a:gd name="connsiteY1" fmla="*/ 0 h 3044420"/>
              <a:gd name="connsiteX2" fmla="*/ 2744787 w 2744787"/>
              <a:gd name="connsiteY2" fmla="*/ 2736850 h 3044420"/>
              <a:gd name="connsiteX3" fmla="*/ 2533247 w 2744787"/>
              <a:gd name="connsiteY3" fmla="*/ 2736850 h 3044420"/>
              <a:gd name="connsiteX4" fmla="*/ 2225676 w 2744787"/>
              <a:gd name="connsiteY4" fmla="*/ 3044420 h 3044420"/>
              <a:gd name="connsiteX5" fmla="*/ 1918107 w 2744787"/>
              <a:gd name="connsiteY5" fmla="*/ 2736850 h 3044420"/>
              <a:gd name="connsiteX6" fmla="*/ 0 w 2744787"/>
              <a:gd name="connsiteY6" fmla="*/ 2736850 h 3044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4787" h="3044420">
                <a:moveTo>
                  <a:pt x="0" y="0"/>
                </a:moveTo>
                <a:lnTo>
                  <a:pt x="2744787" y="0"/>
                </a:lnTo>
                <a:lnTo>
                  <a:pt x="2744787" y="2736850"/>
                </a:lnTo>
                <a:lnTo>
                  <a:pt x="2533247" y="2736850"/>
                </a:lnTo>
                <a:lnTo>
                  <a:pt x="2225676" y="3044420"/>
                </a:lnTo>
                <a:lnTo>
                  <a:pt x="1918107" y="2736850"/>
                </a:lnTo>
                <a:lnTo>
                  <a:pt x="0" y="2736850"/>
                </a:lnTo>
                <a:close/>
              </a:path>
            </a:pathLst>
          </a:custGeom>
          <a:solidFill>
            <a:srgbClr val="F1F0F0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Click icon to add media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BFBEEC-469A-4BBF-8737-8F28A16D4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DEFD0C-6DA6-4221-9C15-4F4C5B0986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16D1F03-5AD8-455C-BF5F-794358210A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80A1515-7905-4DD3-8B88-38DFA503D4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2907" y="2280171"/>
            <a:ext cx="2519388" cy="2461719"/>
          </a:xfrm>
          <a:solidFill>
            <a:srgbClr val="F1F0F0"/>
          </a:solidFill>
        </p:spPr>
        <p:txBody>
          <a:bodyPr/>
          <a:lstStyle>
            <a:lvl1pPr>
              <a:lnSpc>
                <a:spcPct val="98000"/>
              </a:lnSpc>
              <a:defRPr sz="1500"/>
            </a:lvl1pPr>
          </a:lstStyle>
          <a:p>
            <a:pPr lvl="0"/>
            <a:r>
              <a:rPr lang="en-US"/>
              <a:t>Click to edit quotation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B53A602-EBB5-4156-86D2-9FD7A3F6D8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762" y="3215304"/>
            <a:ext cx="2519388" cy="2461719"/>
          </a:xfrm>
          <a:noFill/>
        </p:spPr>
        <p:txBody>
          <a:bodyPr/>
          <a:lstStyle>
            <a:lvl1pPr>
              <a:lnSpc>
                <a:spcPct val="98000"/>
              </a:lnSpc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quotation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207D0EB-09A9-4378-826F-3AA5A016F4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2701" y="1484026"/>
            <a:ext cx="2519388" cy="2461719"/>
          </a:xfrm>
          <a:solidFill>
            <a:srgbClr val="F1F0F0"/>
          </a:solidFill>
        </p:spPr>
        <p:txBody>
          <a:bodyPr/>
          <a:lstStyle>
            <a:lvl1pPr>
              <a:lnSpc>
                <a:spcPct val="98000"/>
              </a:lnSpc>
              <a:defRPr sz="1500"/>
            </a:lvl1pPr>
          </a:lstStyle>
          <a:p>
            <a:pPr lvl="0"/>
            <a:r>
              <a:rPr lang="en-US"/>
              <a:t>Click to edit quotation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2A89BCDE-9F57-4706-8EDC-F787BAB020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72445" y="2616616"/>
            <a:ext cx="2519388" cy="2461719"/>
          </a:xfrm>
          <a:noFill/>
        </p:spPr>
        <p:txBody>
          <a:bodyPr/>
          <a:lstStyle>
            <a:lvl1pPr>
              <a:lnSpc>
                <a:spcPct val="98000"/>
              </a:lnSpc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quo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1580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518E12E-DD66-4295-9460-DC9A8D3884C3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06010" y="2466000"/>
            <a:ext cx="2809428" cy="2808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48533" y="2664000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CE7F66-1926-4E45-B807-40EE0AD954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010" y="5461756"/>
            <a:ext cx="2803906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6AB10830-E625-491E-9945-3A16EA8581F1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234388" y="1413053"/>
            <a:ext cx="2809428" cy="2808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176914" y="1611053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AA41A8E-5552-49A8-879A-3AC8BAABF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9188" y="4408808"/>
            <a:ext cx="2796327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26F77D6E-792A-4707-A5BC-DC5FD0EEC80A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162767" y="2466000"/>
            <a:ext cx="2809428" cy="2808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105292" y="2664000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973ED22-4EA4-45FB-A106-95146F44DD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7568" y="5461756"/>
            <a:ext cx="2829106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B02C5EA8-D029-44AD-833F-7A3C70A6B124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091147" y="1304818"/>
            <a:ext cx="2809428" cy="2808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9B04142-1CA8-4AA9-B84F-FA4E3AA3EE42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9033673" y="1502818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873D053-DD55-4263-90DD-5251755B2F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80500" y="4300573"/>
            <a:ext cx="2718786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520418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518E12E-DD66-4295-9460-DC9A8D3884C3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20453" y="1751500"/>
            <a:ext cx="3240000" cy="3240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20704" y="1812700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6AB10830-E625-491E-9945-3A16EA8581F1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475913" y="1751500"/>
            <a:ext cx="3240000" cy="3240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499401" y="1812700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26F77D6E-792A-4707-A5BC-DC5FD0EEC80A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8331211" y="1751500"/>
            <a:ext cx="3240000" cy="3240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342098" y="1812700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0D384EC-533B-4E4F-AA8F-06C4D3E27F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057" y="5169134"/>
            <a:ext cx="3239998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16D2B86-1954-6E4C-8068-D67A0D5EF1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6003" y="5169134"/>
            <a:ext cx="3239998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D4C6BF8D-6C0B-5941-9C53-FA21369122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1301" y="5169134"/>
            <a:ext cx="3239998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098339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 topics text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BF1751-1526-413F-A8CC-D0765661B235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396000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2CCF0993-25E9-4314-AC17-DF8976998DD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6315417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96000" y="2052000"/>
            <a:ext cx="630002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315417" y="2052000"/>
            <a:ext cx="630002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AFD907-C9CC-4844-8A4F-50AC805DC3D0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3355708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355708" y="2052000"/>
            <a:ext cx="630002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A3410F1-1263-4670-967B-C455E6A878AB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9275125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D7DFF42-5474-4848-9A51-F33F84ACA599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9275125" y="2052000"/>
            <a:ext cx="630002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410F430-BDAF-064E-BFCF-29A97E0320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4830061"/>
            <a:ext cx="2520713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DED0B88-90C4-3741-9A20-02C9798E91B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57420" y="4830061"/>
            <a:ext cx="2520713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22DCB30-DD7F-9B45-B6C5-FF17BB70080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15416" y="4830061"/>
            <a:ext cx="2520713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2301971-CE76-F448-85EF-27B62E33AA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74769" y="4830061"/>
            <a:ext cx="2520713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944900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 topics text Grey bg">
    <p:bg>
      <p:bgPr>
        <a:solidFill>
          <a:srgbClr val="F1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BF1751-1526-413F-A8CC-D0765661B235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396000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2CCF0993-25E9-4314-AC17-DF8976998DD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6315417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96000" y="2052000"/>
            <a:ext cx="630002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315417" y="2052000"/>
            <a:ext cx="630002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AFD907-C9CC-4844-8A4F-50AC805DC3D0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3355708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355708" y="2052000"/>
            <a:ext cx="630002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A3410F1-1263-4670-967B-C455E6A878AB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9275125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D7DFF42-5474-4848-9A51-F33F84ACA599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9275125" y="2052000"/>
            <a:ext cx="630002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AB71338-6D9A-524C-9E8C-8539E7BEF8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4830061"/>
            <a:ext cx="2520713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CFE18152-05D4-8148-8179-74C8386B346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57420" y="4830061"/>
            <a:ext cx="2520713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419BB5F-2C1B-0E49-829D-66EBD50E96E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15416" y="4830061"/>
            <a:ext cx="2520713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A08E426-551A-1F48-8CDE-8526D7924D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74769" y="4830061"/>
            <a:ext cx="2520713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244117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 topics text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BF1751-1526-413F-A8CC-D0765661B235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620454" y="1754641"/>
            <a:ext cx="3240002" cy="324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2CCF0993-25E9-4314-AC17-DF8976998DD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8331210" y="1754641"/>
            <a:ext cx="3240002" cy="324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20704" y="1816329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342098" y="1816329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AFD907-C9CC-4844-8A4F-50AC805DC3D0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4475914" y="1754641"/>
            <a:ext cx="3240002" cy="324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499401" y="1816329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94559F7-85A7-435B-A084-78414197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0CF048F-02CB-0745-B995-F8A27E6BFB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057" y="5169134"/>
            <a:ext cx="3239998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6A96C66-372A-4742-BBFB-69F2F980B7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6003" y="5169134"/>
            <a:ext cx="3239998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EF925049-D199-654A-A77B-FE9AA4D9F9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1301" y="5169134"/>
            <a:ext cx="3239998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453499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 topics text Grey bg">
    <p:bg>
      <p:bgPr>
        <a:solidFill>
          <a:srgbClr val="F1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BF1751-1526-413F-A8CC-D0765661B235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620454" y="1754641"/>
            <a:ext cx="3240002" cy="324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2CCF0993-25E9-4314-AC17-DF8976998DD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8331210" y="1754641"/>
            <a:ext cx="3240002" cy="324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20704" y="1816329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342098" y="1816329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AFD907-C9CC-4844-8A4F-50AC805DC3D0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4475914" y="1754641"/>
            <a:ext cx="3240002" cy="324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499401" y="1816329"/>
            <a:ext cx="630002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94559F7-85A7-435B-A084-78414197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C27684C-9769-9445-BDBD-467237CF25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057" y="5169134"/>
            <a:ext cx="3239998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B52AE03C-D1A6-1E48-A3C7-6042E6E4E8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6003" y="5169134"/>
            <a:ext cx="3239998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B268D92-BB1B-8D4F-8A52-AB0EB1E4DFB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1301" y="5169134"/>
            <a:ext cx="3239998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62325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wcas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640351-F3B7-4BA9-9198-4D1FB1B560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D60E37-31CA-4F48-A5D4-DEEA4E41E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27C01F3-7940-4574-9FA6-B94F9728AA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136D9CD-786E-4125-B199-0BB0A1948F6F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20343" y="395288"/>
            <a:ext cx="3456000" cy="3456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8465D2AE-E121-44C6-9B31-4AF6C2DE390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-294606" y="2900349"/>
            <a:ext cx="3456000" cy="3456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705839EB-BFD8-46BD-AE2F-30850E1092B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9089225" y="2164018"/>
            <a:ext cx="3456000" cy="3456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E77BB9-C303-4FB1-89A2-0E3BD1025D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56839" y="4319856"/>
            <a:ext cx="1779598" cy="92960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1"/>
                </a:solidFill>
                <a:latin typeface="+mj-lt"/>
              </a:defRPr>
            </a:lvl1pPr>
            <a:lvl2pPr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Edit stat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2A5BB700-F209-4C22-87C7-D453AA0AAA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5986" y="4886601"/>
            <a:ext cx="1779598" cy="92960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1"/>
                </a:solidFill>
                <a:latin typeface="+mj-lt"/>
              </a:defRPr>
            </a:lvl1pPr>
            <a:lvl2pPr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Edit stat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6BC806E-8C63-46D6-A989-DEF4DCBD10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89225" y="540347"/>
            <a:ext cx="1740700" cy="92960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1"/>
                </a:solidFill>
                <a:latin typeface="+mj-lt"/>
              </a:defRPr>
            </a:lvl1pPr>
            <a:lvl2pPr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Edit stat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F7C443E-D92A-964B-B831-FB5CC29B2701}"/>
              </a:ext>
            </a:extLst>
          </p:cNvPr>
          <p:cNvGrpSpPr/>
          <p:nvPr userDrawn="1"/>
        </p:nvGrpSpPr>
        <p:grpSpPr>
          <a:xfrm>
            <a:off x="3155945" y="4413825"/>
            <a:ext cx="734923" cy="108000"/>
            <a:chOff x="3426679" y="4423111"/>
            <a:chExt cx="734922" cy="10800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7FEE61A-DDE1-C041-A1C3-42D404FAAA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34679" y="4477111"/>
              <a:ext cx="626922" cy="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59D8537-3E31-344F-9F19-B9F2EDAB25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26679" y="4423111"/>
              <a:ext cx="108000" cy="108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2EBB582-8D16-954F-A394-0BC8D453547F}"/>
              </a:ext>
            </a:extLst>
          </p:cNvPr>
          <p:cNvGrpSpPr/>
          <p:nvPr userDrawn="1"/>
        </p:nvGrpSpPr>
        <p:grpSpPr>
          <a:xfrm>
            <a:off x="7339231" y="625149"/>
            <a:ext cx="1704660" cy="108000"/>
            <a:chOff x="3426679" y="4423111"/>
            <a:chExt cx="1704660" cy="1080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7EC9682-5F98-1544-970E-0DAB51A4DF5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34679" y="4477111"/>
              <a:ext cx="1596660" cy="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E564EF8-5CB9-3843-B3BD-CFD4F04F14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26679" y="4423111"/>
              <a:ext cx="108000" cy="108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84E2C5-2BE1-864F-8D22-F466CE9FEFD9}"/>
              </a:ext>
            </a:extLst>
          </p:cNvPr>
          <p:cNvGrpSpPr/>
          <p:nvPr userDrawn="1"/>
        </p:nvGrpSpPr>
        <p:grpSpPr>
          <a:xfrm rot="10800000">
            <a:off x="8764661" y="4978629"/>
            <a:ext cx="734923" cy="108000"/>
            <a:chOff x="3426679" y="4423111"/>
            <a:chExt cx="734922" cy="108000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F94764B-3395-EC4B-9C68-EE7BBE758DD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34679" y="4477111"/>
              <a:ext cx="626922" cy="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89F817B-A7F3-6645-82BB-0C0F7C740F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26679" y="4423111"/>
              <a:ext cx="108000" cy="108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9526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9B546-3712-4334-BE90-23949655D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A5B68F3-15E3-49C9-83E4-571D400B4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2AD31A-AC28-49A4-965B-A6039AD1BA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588" y="4857115"/>
            <a:ext cx="2606675" cy="490538"/>
          </a:xfrm>
        </p:spPr>
        <p:txBody>
          <a:bodyPr vert="horz" lIns="0" tIns="0" rIns="0" bIns="0" rtlCol="0">
            <a:noAutofit/>
          </a:bodyPr>
          <a:lstStyle>
            <a:lvl1pPr algn="ctr">
              <a:defRPr lang="en-US" sz="1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3A0F4C3-1B28-4459-A7E9-C5E4EE1B5FF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05188" y="4857115"/>
            <a:ext cx="2606675" cy="490538"/>
          </a:xfrm>
        </p:spPr>
        <p:txBody>
          <a:bodyPr vert="horz" lIns="0" tIns="0" rIns="0" bIns="0" rtlCol="0">
            <a:noAutofit/>
          </a:bodyPr>
          <a:lstStyle>
            <a:lvl1pPr algn="ctr">
              <a:defRPr lang="en-US"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EE12C5-2B75-45A6-B463-1B0D48284E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0139" y="4857115"/>
            <a:ext cx="2606675" cy="490538"/>
          </a:xfrm>
        </p:spPr>
        <p:txBody>
          <a:bodyPr vert="horz" lIns="0" tIns="0" rIns="0" bIns="0" rtlCol="0">
            <a:noAutofit/>
          </a:bodyPr>
          <a:lstStyle>
            <a:lvl1pPr algn="ctr">
              <a:defRPr lang="en-US"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F692B2-E3BD-4D21-9871-AB70BA40B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55090" y="4857115"/>
            <a:ext cx="2606675" cy="490538"/>
          </a:xfrm>
        </p:spPr>
        <p:txBody>
          <a:bodyPr vert="horz" lIns="0" tIns="0" rIns="0" bIns="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6394D75-65D9-413C-939F-038D88DF61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black">
          <a:xfrm>
            <a:off x="636588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4" y="2606676"/>
                  <a:pt x="0" y="2023152"/>
                  <a:pt x="0" y="1303338"/>
                </a:cubicBezTo>
                <a:cubicBezTo>
                  <a:pt x="0" y="583525"/>
                  <a:pt x="583524" y="0"/>
                  <a:pt x="130333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smtClean="0">
                <a:solidFill>
                  <a:schemeClr val="bg1"/>
                </a:solidFill>
              </a:defRPr>
            </a:lvl1pPr>
            <a:lvl2pPr algn="ctr">
              <a:defRPr lang="en-US" sz="1800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 algn="ctr"/>
            <a:r>
              <a:rPr lang="en-US" dirty="0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DA66A3A-7344-4E11-B99D-40FEDFF07E9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3405717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5" y="2606676"/>
                  <a:pt x="0" y="2023152"/>
                  <a:pt x="0" y="1303338"/>
                </a:cubicBezTo>
                <a:cubicBezTo>
                  <a:pt x="0" y="583525"/>
                  <a:pt x="583525" y="0"/>
                  <a:pt x="130333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smtClean="0">
                <a:solidFill>
                  <a:schemeClr val="bg1"/>
                </a:solidFill>
              </a:defRPr>
            </a:lvl1pPr>
            <a:lvl2pPr algn="ctr">
              <a:defRPr lang="en-US" sz="1800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 algn="ctr"/>
            <a:r>
              <a:rPr lang="en-US" dirty="0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DBAD324-5A48-4DB3-8F7D-754FBE70394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6174846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5" y="2606676"/>
                  <a:pt x="0" y="2023152"/>
                  <a:pt x="0" y="1303338"/>
                </a:cubicBezTo>
                <a:cubicBezTo>
                  <a:pt x="0" y="583525"/>
                  <a:pt x="583525" y="0"/>
                  <a:pt x="130333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smtClean="0">
                <a:solidFill>
                  <a:schemeClr val="bg1"/>
                </a:solidFill>
              </a:defRPr>
            </a:lvl1pPr>
            <a:lvl2pPr algn="ctr">
              <a:defRPr lang="en-US" sz="1800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 algn="ctr"/>
            <a:r>
              <a:rPr lang="en-US" dirty="0"/>
              <a:t>Second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1856E75-8CBD-46EA-A39C-18F0B4FF28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8943975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4" y="2606676"/>
                  <a:pt x="0" y="2023152"/>
                  <a:pt x="0" y="1303338"/>
                </a:cubicBezTo>
                <a:cubicBezTo>
                  <a:pt x="0" y="583525"/>
                  <a:pt x="583524" y="0"/>
                  <a:pt x="130333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smtClean="0">
                <a:solidFill>
                  <a:schemeClr val="bg1"/>
                </a:solidFill>
              </a:defRPr>
            </a:lvl1pPr>
            <a:lvl2pPr algn="ctr">
              <a:defRPr lang="en-US" sz="1800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  <a:p>
            <a:pPr lvl="1" algn="ctr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892285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C68FE0-9D4B-4D2A-8A04-6F604573355D}"/>
              </a:ext>
            </a:extLst>
          </p:cNvPr>
          <p:cNvCxnSpPr>
            <a:stCxn id="8" idx="6"/>
            <a:endCxn id="11" idx="2"/>
          </p:cNvCxnSpPr>
          <p:nvPr userDrawn="1"/>
        </p:nvCxnSpPr>
        <p:spPr>
          <a:xfrm>
            <a:off x="1907289" y="3147820"/>
            <a:ext cx="8372864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2B69099-F673-423F-9EBF-EF3E7475D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1C0C6F-8636-43FB-AA48-6CFE625BF8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F160380E-C2C2-4B4A-A28B-D524FE77C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D97BDB-0B1B-4345-AB6F-4590E9A894BC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4257721" y="1311820"/>
            <a:ext cx="3672000" cy="3672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43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A1A8E79-3608-49CF-8C98-F86CD5C7EB02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95289" y="2391820"/>
            <a:ext cx="1512000" cy="15120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icon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F83619E7-ED63-4FEF-94FB-F5137EA5EA1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326505" y="2391820"/>
            <a:ext cx="1512000" cy="15120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icon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30A64DEE-496A-42BE-8716-97F9DC601EA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348937" y="2391820"/>
            <a:ext cx="1512000" cy="15120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icon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EC7032B5-EFC0-4FFB-8F5F-5391589BF3B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10280153" y="2391820"/>
            <a:ext cx="1512000" cy="15120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ic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1EAD6DB-74C7-427C-B996-40983E7AFB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289" y="4158636"/>
            <a:ext cx="1512000" cy="1462087"/>
          </a:xfrm>
        </p:spPr>
        <p:txBody>
          <a:bodyPr/>
          <a:lstStyle>
            <a:lvl1pPr algn="ctr">
              <a:spcAft>
                <a:spcPts val="0"/>
              </a:spcAft>
              <a:defRPr sz="1500">
                <a:solidFill>
                  <a:schemeClr val="accent1"/>
                </a:solidFill>
              </a:defRPr>
            </a:lvl1pPr>
            <a:lvl2pPr algn="ctr">
              <a:spcAft>
                <a:spcPts val="0"/>
              </a:spcAft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BAE33B9-B7D0-4355-9985-D9E81D59E3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6505" y="4158636"/>
            <a:ext cx="1512000" cy="1462087"/>
          </a:xfrm>
        </p:spPr>
        <p:txBody>
          <a:bodyPr/>
          <a:lstStyle>
            <a:lvl1pPr algn="ctr">
              <a:spcAft>
                <a:spcPts val="0"/>
              </a:spcAft>
              <a:defRPr sz="1500">
                <a:solidFill>
                  <a:schemeClr val="accent1"/>
                </a:solidFill>
              </a:defRPr>
            </a:lvl1pPr>
            <a:lvl2pPr algn="ctr">
              <a:spcAft>
                <a:spcPts val="0"/>
              </a:spcAft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D5E308-5A6D-4E0A-9478-CD2E53BD9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7911" y="4158636"/>
            <a:ext cx="1512000" cy="1462087"/>
          </a:xfrm>
        </p:spPr>
        <p:txBody>
          <a:bodyPr/>
          <a:lstStyle>
            <a:lvl1pPr algn="ctr">
              <a:spcAft>
                <a:spcPts val="0"/>
              </a:spcAft>
              <a:defRPr sz="1500">
                <a:solidFill>
                  <a:schemeClr val="accent1"/>
                </a:solidFill>
              </a:defRPr>
            </a:lvl1pPr>
            <a:lvl2pPr algn="ctr">
              <a:spcAft>
                <a:spcPts val="0"/>
              </a:spcAft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24E157F-35C8-4765-9001-352A442A115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289125" y="4158636"/>
            <a:ext cx="1512000" cy="1462087"/>
          </a:xfrm>
        </p:spPr>
        <p:txBody>
          <a:bodyPr/>
          <a:lstStyle>
            <a:lvl1pPr algn="ctr">
              <a:spcAft>
                <a:spcPts val="0"/>
              </a:spcAft>
              <a:defRPr sz="1500">
                <a:solidFill>
                  <a:schemeClr val="accent1"/>
                </a:solidFill>
              </a:defRPr>
            </a:lvl1pPr>
            <a:lvl2pPr algn="ctr">
              <a:spcAft>
                <a:spcPts val="0"/>
              </a:spcAft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5D5524E-1541-CD46-B1E3-6595D43C62F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4478209" y="1527820"/>
            <a:ext cx="3240002" cy="324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119924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BE55A-6318-49F9-B851-497F4E5DD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FC7909-9860-4D1A-8219-9321861BED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BB0D08E-E49F-41A3-83FC-E0E72C4233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B0807F-FD51-498C-8F21-1A5595C90A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46000"/>
            <a:ext cx="2376000" cy="828000"/>
          </a:xfrm>
          <a:solidFill>
            <a:srgbClr val="F1F0F0"/>
          </a:solidFill>
        </p:spPr>
        <p:txBody>
          <a:bodyPr lIns="396000" rIns="396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B014667-CB8C-4A61-9535-26CDE689DE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54000" y="1746000"/>
            <a:ext cx="2376000" cy="828000"/>
          </a:xfrm>
          <a:solidFill>
            <a:srgbClr val="F1F0F0"/>
          </a:solidFill>
        </p:spPr>
        <p:txBody>
          <a:bodyPr lIns="360000" rIns="360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0CC6C1A-D3EF-480E-A88B-7F1DE697D6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8000" y="1746000"/>
            <a:ext cx="2376000" cy="828000"/>
          </a:xfrm>
          <a:solidFill>
            <a:srgbClr val="F1F0F0"/>
          </a:solidFill>
        </p:spPr>
        <p:txBody>
          <a:bodyPr lIns="360000" rIns="360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016E57B-C1F2-467E-AFDB-4CB1F69E49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62000" y="1746000"/>
            <a:ext cx="2376000" cy="828000"/>
          </a:xfrm>
          <a:solidFill>
            <a:srgbClr val="F1F0F0"/>
          </a:solidFill>
        </p:spPr>
        <p:txBody>
          <a:bodyPr lIns="360000" rIns="360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930BEC3-B5A3-4512-B4F7-F63C11AA99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16000" y="1746000"/>
            <a:ext cx="2376000" cy="828000"/>
          </a:xfrm>
          <a:solidFill>
            <a:srgbClr val="F1F0F0"/>
          </a:solidFill>
        </p:spPr>
        <p:txBody>
          <a:bodyPr lIns="396000" rIns="396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5A48F33-2DCF-47F3-81DC-FFD8DD6B5A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2649400"/>
            <a:ext cx="6055200" cy="1584000"/>
          </a:xfrm>
          <a:solidFill>
            <a:srgbClr val="F1F0F0"/>
          </a:solidFill>
        </p:spPr>
        <p:txBody>
          <a:bodyPr lIns="396000" tIns="180000" rIns="396000" anchor="t"/>
          <a:lstStyle>
            <a:lvl1pPr algn="ctr">
              <a:spcAft>
                <a:spcPts val="6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lnSpc>
                <a:spcPct val="98000"/>
              </a:lnSpc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E5D7180-FBAC-4C8B-847B-304E040B6C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6800" y="2649400"/>
            <a:ext cx="6055200" cy="1584000"/>
          </a:xfrm>
          <a:solidFill>
            <a:srgbClr val="F1F0F0"/>
          </a:solidFill>
        </p:spPr>
        <p:txBody>
          <a:bodyPr lIns="396000" tIns="180000" rIns="396000" anchor="t"/>
          <a:lstStyle>
            <a:lvl1pPr algn="ctr">
              <a:spcAft>
                <a:spcPts val="6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lnSpc>
                <a:spcPct val="98000"/>
              </a:lnSpc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810D69E-5D1E-4A6F-B0FF-C6BE9ED89D4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4308800"/>
            <a:ext cx="12192000" cy="1584000"/>
          </a:xfrm>
          <a:solidFill>
            <a:schemeClr val="accent1"/>
          </a:solidFill>
        </p:spPr>
        <p:txBody>
          <a:bodyPr lIns="396000" tIns="180000" rIns="396000" anchor="t"/>
          <a:lstStyle>
            <a:lvl1pPr algn="ctr">
              <a:spcAft>
                <a:spcPts val="600"/>
              </a:spcAft>
              <a:defRPr sz="3000">
                <a:solidFill>
                  <a:schemeClr val="bg1"/>
                </a:solidFill>
                <a:latin typeface="+mj-lt"/>
              </a:defRPr>
            </a:lvl1pPr>
            <a:lvl2pPr algn="ctr">
              <a:lnSpc>
                <a:spcPct val="98000"/>
              </a:lnSpc>
              <a:defRPr sz="150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070514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with Info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8F8F267-B3A7-426C-B891-1B3CD5DCA16E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A1A912-1140-DB49-AC2C-9C031FAFE6B8}"/>
              </a:ext>
            </a:extLst>
          </p:cNvPr>
          <p:cNvSpPr txBox="1"/>
          <p:nvPr userDrawn="1"/>
        </p:nvSpPr>
        <p:spPr>
          <a:xfrm>
            <a:off x="534436" y="3520010"/>
            <a:ext cx="10455964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3800" dirty="0">
                <a:solidFill>
                  <a:schemeClr val="bg1"/>
                </a:solidFill>
                <a:latin typeface="+mj-lt"/>
              </a:rPr>
              <a:t>Thank you</a:t>
            </a:r>
            <a:r>
              <a:rPr lang="en-GB" sz="13800" dirty="0">
                <a:solidFill>
                  <a:schemeClr val="bg2"/>
                </a:solidFill>
                <a:latin typeface="+mj-lt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02DDC9-99BF-5F43-A021-C5D06D790D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46950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595" y="573407"/>
            <a:ext cx="10918825" cy="590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6595" y="1163641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aseline="0"/>
            </a:lvl1pPr>
            <a:lvl2pPr>
              <a:defRPr sz="1200"/>
            </a:lvl2pPr>
            <a:lvl3pPr>
              <a:defRPr sz="1200"/>
            </a:lvl3pPr>
            <a:lvl4pPr>
              <a:defRPr sz="1051"/>
            </a:lvl4pPr>
            <a:lvl5pPr>
              <a:defRPr sz="1200"/>
            </a:lvl5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420007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530630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our key topics text Grey bg">
    <p:bg>
      <p:bgPr>
        <a:solidFill>
          <a:srgbClr val="F1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078232-ECF9-420A-9065-6CDCF4A1412F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BF1751-1526-413F-A8CC-D0765661B235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396000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2CCF0993-25E9-4314-AC17-DF8976998DD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6315417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96000" y="2052000"/>
            <a:ext cx="630002" cy="630000"/>
          </a:xfrm>
          <a:prstGeom prst="ellipse">
            <a:avLst/>
          </a:prstGeom>
          <a:solidFill>
            <a:schemeClr val="tx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315417" y="2052000"/>
            <a:ext cx="630002" cy="630000"/>
          </a:xfrm>
          <a:prstGeom prst="ellipse">
            <a:avLst/>
          </a:prstGeom>
          <a:solidFill>
            <a:schemeClr val="tx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AFD907-C9CC-4844-8A4F-50AC805DC3D0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3355708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355708" y="2052000"/>
            <a:ext cx="630002" cy="630000"/>
          </a:xfrm>
          <a:prstGeom prst="ellipse">
            <a:avLst/>
          </a:prstGeom>
          <a:solidFill>
            <a:schemeClr val="tx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A3410F1-1263-4670-967B-C455E6A878AB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9275125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D7DFF42-5474-4848-9A51-F33F84ACA599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9275125" y="2052000"/>
            <a:ext cx="630002" cy="630000"/>
          </a:xfrm>
          <a:prstGeom prst="ellipse">
            <a:avLst/>
          </a:prstGeom>
          <a:solidFill>
            <a:schemeClr val="tx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6BF8CC0-59EB-4966-AE98-74BF0C5C01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19493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739200" y="152550"/>
            <a:ext cx="9552000" cy="658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72374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9B546-3712-4334-BE90-23949655D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A5B68F3-15E3-49C9-83E4-571D400B4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2AD31A-AC28-49A4-965B-A6039AD1BA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588" y="4857115"/>
            <a:ext cx="2606675" cy="490538"/>
          </a:xfrm>
        </p:spPr>
        <p:txBody>
          <a:bodyPr vert="horz" lIns="0" tIns="0" rIns="0" bIns="0" rtlCol="0">
            <a:noAutofit/>
          </a:bodyPr>
          <a:lstStyle>
            <a:lvl1pPr algn="ctr">
              <a:defRPr lang="en-US" sz="1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3A0F4C3-1B28-4459-A7E9-C5E4EE1B5FF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05188" y="4857115"/>
            <a:ext cx="2606675" cy="490538"/>
          </a:xfrm>
        </p:spPr>
        <p:txBody>
          <a:bodyPr vert="horz" lIns="0" tIns="0" rIns="0" bIns="0" rtlCol="0">
            <a:noAutofit/>
          </a:bodyPr>
          <a:lstStyle>
            <a:lvl1pPr algn="ctr">
              <a:defRPr lang="en-US"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EE12C5-2B75-45A6-B463-1B0D48284E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0139" y="4857115"/>
            <a:ext cx="2606675" cy="490538"/>
          </a:xfrm>
        </p:spPr>
        <p:txBody>
          <a:bodyPr vert="horz" lIns="0" tIns="0" rIns="0" bIns="0" rtlCol="0">
            <a:noAutofit/>
          </a:bodyPr>
          <a:lstStyle>
            <a:lvl1pPr algn="ctr">
              <a:defRPr lang="en-US"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F692B2-E3BD-4D21-9871-AB70BA40B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55090" y="4857115"/>
            <a:ext cx="2606675" cy="490538"/>
          </a:xfrm>
        </p:spPr>
        <p:txBody>
          <a:bodyPr vert="horz" lIns="0" tIns="0" rIns="0" bIns="0" rtlCol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6394D75-65D9-413C-939F-038D88DF61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black">
          <a:xfrm>
            <a:off x="636588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4" y="2606676"/>
                  <a:pt x="0" y="2023152"/>
                  <a:pt x="0" y="1303338"/>
                </a:cubicBezTo>
                <a:cubicBezTo>
                  <a:pt x="0" y="583525"/>
                  <a:pt x="583524" y="0"/>
                  <a:pt x="130333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smtClean="0">
                <a:solidFill>
                  <a:schemeClr val="bg1"/>
                </a:solidFill>
              </a:defRPr>
            </a:lvl1pPr>
            <a:lvl2pPr algn="ctr">
              <a:defRPr lang="en-US" sz="1800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 algn="ctr"/>
            <a:r>
              <a:rPr lang="en-US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0DA66A3A-7344-4E11-B99D-40FEDFF07E9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black">
          <a:xfrm>
            <a:off x="3405717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5" y="2606676"/>
                  <a:pt x="0" y="2023152"/>
                  <a:pt x="0" y="1303338"/>
                </a:cubicBezTo>
                <a:cubicBezTo>
                  <a:pt x="0" y="583525"/>
                  <a:pt x="583525" y="0"/>
                  <a:pt x="130333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smtClean="0">
                <a:solidFill>
                  <a:schemeClr val="bg1"/>
                </a:solidFill>
              </a:defRPr>
            </a:lvl1pPr>
            <a:lvl2pPr algn="ctr">
              <a:defRPr lang="en-US" sz="1800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 algn="ctr"/>
            <a:r>
              <a:rPr lang="en-US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DBAD324-5A48-4DB3-8F7D-754FBE70394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black">
          <a:xfrm>
            <a:off x="6174846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5" y="2606676"/>
                  <a:pt x="0" y="2023152"/>
                  <a:pt x="0" y="1303338"/>
                </a:cubicBezTo>
                <a:cubicBezTo>
                  <a:pt x="0" y="583525"/>
                  <a:pt x="583525" y="0"/>
                  <a:pt x="130333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smtClean="0">
                <a:solidFill>
                  <a:schemeClr val="bg1"/>
                </a:solidFill>
              </a:defRPr>
            </a:lvl1pPr>
            <a:lvl2pPr algn="ctr">
              <a:defRPr lang="en-US" sz="1800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 algn="ctr"/>
            <a:r>
              <a:rPr lang="en-US"/>
              <a:t>Second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91856E75-8CBD-46EA-A39C-18F0B4FF28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black">
          <a:xfrm>
            <a:off x="8943975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4" y="2606676"/>
                  <a:pt x="0" y="2023152"/>
                  <a:pt x="0" y="1303338"/>
                </a:cubicBezTo>
                <a:cubicBezTo>
                  <a:pt x="0" y="583525"/>
                  <a:pt x="583524" y="0"/>
                  <a:pt x="1303338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216000" tIns="108000" rIns="216000" bIns="108000" rtlCol="0" anchor="ctr">
            <a:noAutofit/>
          </a:bodyPr>
          <a:lstStyle>
            <a:lvl1pPr algn="ctr">
              <a:defRPr lang="en-US" sz="2400" b="1" smtClean="0">
                <a:solidFill>
                  <a:schemeClr val="bg1"/>
                </a:solidFill>
              </a:defRPr>
            </a:lvl1pPr>
            <a:lvl2pPr algn="ctr">
              <a:defRPr lang="en-US" sz="1800" b="0" smtClean="0">
                <a:solidFill>
                  <a:schemeClr val="bg1"/>
                </a:solidFill>
              </a:defRPr>
            </a:lvl2pPr>
            <a:lvl3pPr marL="0" indent="0">
              <a:buNone/>
              <a:defRPr lang="en-US" sz="1200" smtClean="0">
                <a:solidFill>
                  <a:schemeClr val="bg1"/>
                </a:solidFill>
              </a:defRPr>
            </a:lvl3pPr>
            <a:lvl4pPr marL="271462" indent="0">
              <a:buNone/>
              <a:defRPr lang="en-US" smtClean="0">
                <a:solidFill>
                  <a:schemeClr val="bg1"/>
                </a:solidFill>
              </a:defRPr>
            </a:lvl4pPr>
            <a:lvl5pPr>
              <a:defRPr lang="en-GB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  <a:p>
            <a:pPr lvl="1" algn="ctr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608446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785790" y="5413375"/>
            <a:ext cx="3240000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476000" y="5413375"/>
            <a:ext cx="3240000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8176873" y="5413375"/>
            <a:ext cx="3240000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437D4B-A5CF-40E1-9F2E-3F566AF687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5A56992-478D-4B59-86FF-ABAF4607CF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DAE28D5-DAA8-42A8-8E4F-B6F0CCE4BE2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black">
          <a:xfrm>
            <a:off x="647249" y="1777998"/>
            <a:ext cx="3517080" cy="3517080"/>
          </a:xfrm>
          <a:custGeom>
            <a:avLst/>
            <a:gdLst>
              <a:gd name="connsiteX0" fmla="*/ 1758540 w 3517080"/>
              <a:gd name="connsiteY0" fmla="*/ 0 h 3517080"/>
              <a:gd name="connsiteX1" fmla="*/ 3517080 w 3517080"/>
              <a:gd name="connsiteY1" fmla="*/ 1758540 h 3517080"/>
              <a:gd name="connsiteX2" fmla="*/ 1758540 w 3517080"/>
              <a:gd name="connsiteY2" fmla="*/ 3517080 h 3517080"/>
              <a:gd name="connsiteX3" fmla="*/ 0 w 3517080"/>
              <a:gd name="connsiteY3" fmla="*/ 1758540 h 3517080"/>
              <a:gd name="connsiteX4" fmla="*/ 1758540 w 3517080"/>
              <a:gd name="connsiteY4" fmla="*/ 0 h 3517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7080" h="3517080">
                <a:moveTo>
                  <a:pt x="1758540" y="0"/>
                </a:moveTo>
                <a:cubicBezTo>
                  <a:pt x="2729755" y="0"/>
                  <a:pt x="3517080" y="787325"/>
                  <a:pt x="3517080" y="1758540"/>
                </a:cubicBezTo>
                <a:cubicBezTo>
                  <a:pt x="3517080" y="2729755"/>
                  <a:pt x="2729755" y="3517080"/>
                  <a:pt x="1758540" y="3517080"/>
                </a:cubicBezTo>
                <a:cubicBezTo>
                  <a:pt x="787325" y="3517080"/>
                  <a:pt x="0" y="2729755"/>
                  <a:pt x="0" y="1758540"/>
                </a:cubicBezTo>
                <a:cubicBezTo>
                  <a:pt x="0" y="787325"/>
                  <a:pt x="787325" y="0"/>
                  <a:pt x="175854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3251391-1D1C-437E-BE26-5EDC882C0EA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black">
          <a:xfrm>
            <a:off x="4347914" y="1777998"/>
            <a:ext cx="3517080" cy="3517080"/>
          </a:xfrm>
          <a:custGeom>
            <a:avLst/>
            <a:gdLst>
              <a:gd name="connsiteX0" fmla="*/ 1758540 w 3517080"/>
              <a:gd name="connsiteY0" fmla="*/ 0 h 3517080"/>
              <a:gd name="connsiteX1" fmla="*/ 3517080 w 3517080"/>
              <a:gd name="connsiteY1" fmla="*/ 1758540 h 3517080"/>
              <a:gd name="connsiteX2" fmla="*/ 1758540 w 3517080"/>
              <a:gd name="connsiteY2" fmla="*/ 3517080 h 3517080"/>
              <a:gd name="connsiteX3" fmla="*/ 0 w 3517080"/>
              <a:gd name="connsiteY3" fmla="*/ 1758540 h 3517080"/>
              <a:gd name="connsiteX4" fmla="*/ 1758540 w 3517080"/>
              <a:gd name="connsiteY4" fmla="*/ 0 h 3517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7080" h="3517080">
                <a:moveTo>
                  <a:pt x="1758540" y="0"/>
                </a:moveTo>
                <a:cubicBezTo>
                  <a:pt x="2729755" y="0"/>
                  <a:pt x="3517080" y="787325"/>
                  <a:pt x="3517080" y="1758540"/>
                </a:cubicBezTo>
                <a:cubicBezTo>
                  <a:pt x="3517080" y="2729755"/>
                  <a:pt x="2729755" y="3517080"/>
                  <a:pt x="1758540" y="3517080"/>
                </a:cubicBezTo>
                <a:cubicBezTo>
                  <a:pt x="787325" y="3517080"/>
                  <a:pt x="0" y="2729755"/>
                  <a:pt x="0" y="1758540"/>
                </a:cubicBezTo>
                <a:cubicBezTo>
                  <a:pt x="0" y="787325"/>
                  <a:pt x="787325" y="0"/>
                  <a:pt x="175854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69FDD22-7BEA-4BCF-BA80-AAE36AE82FA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 bwMode="black">
          <a:xfrm>
            <a:off x="8038332" y="1777998"/>
            <a:ext cx="3517080" cy="3517080"/>
          </a:xfrm>
          <a:custGeom>
            <a:avLst/>
            <a:gdLst>
              <a:gd name="connsiteX0" fmla="*/ 1758540 w 3517080"/>
              <a:gd name="connsiteY0" fmla="*/ 0 h 3517080"/>
              <a:gd name="connsiteX1" fmla="*/ 3517080 w 3517080"/>
              <a:gd name="connsiteY1" fmla="*/ 1758540 h 3517080"/>
              <a:gd name="connsiteX2" fmla="*/ 1758540 w 3517080"/>
              <a:gd name="connsiteY2" fmla="*/ 3517080 h 3517080"/>
              <a:gd name="connsiteX3" fmla="*/ 0 w 3517080"/>
              <a:gd name="connsiteY3" fmla="*/ 1758540 h 3517080"/>
              <a:gd name="connsiteX4" fmla="*/ 1758540 w 3517080"/>
              <a:gd name="connsiteY4" fmla="*/ 0 h 3517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17080" h="3517080">
                <a:moveTo>
                  <a:pt x="1758540" y="0"/>
                </a:moveTo>
                <a:cubicBezTo>
                  <a:pt x="2729755" y="0"/>
                  <a:pt x="3517080" y="787325"/>
                  <a:pt x="3517080" y="1758540"/>
                </a:cubicBezTo>
                <a:cubicBezTo>
                  <a:pt x="3517080" y="2729755"/>
                  <a:pt x="2729755" y="3517080"/>
                  <a:pt x="1758540" y="3517080"/>
                </a:cubicBezTo>
                <a:cubicBezTo>
                  <a:pt x="787325" y="3517080"/>
                  <a:pt x="0" y="2729755"/>
                  <a:pt x="0" y="1758540"/>
                </a:cubicBezTo>
                <a:cubicBezTo>
                  <a:pt x="0" y="787325"/>
                  <a:pt x="787325" y="0"/>
                  <a:pt x="175854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88803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9B546-3712-4334-BE90-23949655DB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7A5B68F3-15E3-49C9-83E4-571D400B46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2AD31A-AC28-49A4-965B-A6039AD1BA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588" y="4857115"/>
            <a:ext cx="2606675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C3A0F4C3-1B28-4459-A7E9-C5E4EE1B5FF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05188" y="4857115"/>
            <a:ext cx="2606675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1EE12C5-2B75-45A6-B463-1B0D48284E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0139" y="4857115"/>
            <a:ext cx="2606675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F692B2-E3BD-4D21-9871-AB70BA40B7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55090" y="4857115"/>
            <a:ext cx="2606675" cy="490538"/>
          </a:xfrm>
        </p:spPr>
        <p:txBody>
          <a:bodyPr/>
          <a:lstStyle>
            <a:lvl1pPr algn="ctr"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10F4D629-50CD-4B1F-B5AD-5869C24DAF7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 bwMode="black">
          <a:xfrm>
            <a:off x="636588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4" y="2606676"/>
                  <a:pt x="0" y="2023152"/>
                  <a:pt x="0" y="1303338"/>
                </a:cubicBezTo>
                <a:cubicBezTo>
                  <a:pt x="0" y="583525"/>
                  <a:pt x="583524" y="0"/>
                  <a:pt x="1303338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D9D445A2-5FA3-415F-886B-1D2DFE5E523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 bwMode="black">
          <a:xfrm>
            <a:off x="3405717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5" y="2606676"/>
                  <a:pt x="0" y="2023152"/>
                  <a:pt x="0" y="1303338"/>
                </a:cubicBezTo>
                <a:cubicBezTo>
                  <a:pt x="0" y="583525"/>
                  <a:pt x="583525" y="0"/>
                  <a:pt x="1303338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36393E3-7364-45CC-AECA-8E6BDA6AE6C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 bwMode="black">
          <a:xfrm>
            <a:off x="6174846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5" y="2606676"/>
                  <a:pt x="0" y="2023152"/>
                  <a:pt x="0" y="1303338"/>
                </a:cubicBezTo>
                <a:cubicBezTo>
                  <a:pt x="0" y="583525"/>
                  <a:pt x="583525" y="0"/>
                  <a:pt x="1303338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6B2EC514-7A0E-4D57-89F6-91933D07781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black">
          <a:xfrm>
            <a:off x="8943975" y="2125662"/>
            <a:ext cx="2606676" cy="2606676"/>
          </a:xfrm>
          <a:custGeom>
            <a:avLst/>
            <a:gdLst>
              <a:gd name="connsiteX0" fmla="*/ 1303338 w 2606676"/>
              <a:gd name="connsiteY0" fmla="*/ 0 h 2606676"/>
              <a:gd name="connsiteX1" fmla="*/ 2606676 w 2606676"/>
              <a:gd name="connsiteY1" fmla="*/ 1303338 h 2606676"/>
              <a:gd name="connsiteX2" fmla="*/ 1303338 w 2606676"/>
              <a:gd name="connsiteY2" fmla="*/ 2606676 h 2606676"/>
              <a:gd name="connsiteX3" fmla="*/ 0 w 2606676"/>
              <a:gd name="connsiteY3" fmla="*/ 1303338 h 2606676"/>
              <a:gd name="connsiteX4" fmla="*/ 1303338 w 2606676"/>
              <a:gd name="connsiteY4" fmla="*/ 0 h 2606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6676" h="2606676">
                <a:moveTo>
                  <a:pt x="1303338" y="0"/>
                </a:moveTo>
                <a:cubicBezTo>
                  <a:pt x="2023152" y="0"/>
                  <a:pt x="2606676" y="583525"/>
                  <a:pt x="2606676" y="1303338"/>
                </a:cubicBezTo>
                <a:cubicBezTo>
                  <a:pt x="2606676" y="2023152"/>
                  <a:pt x="2023152" y="2606676"/>
                  <a:pt x="1303338" y="2606676"/>
                </a:cubicBezTo>
                <a:cubicBezTo>
                  <a:pt x="583524" y="2606676"/>
                  <a:pt x="0" y="2023152"/>
                  <a:pt x="0" y="1303338"/>
                </a:cubicBezTo>
                <a:cubicBezTo>
                  <a:pt x="0" y="583525"/>
                  <a:pt x="583524" y="0"/>
                  <a:pt x="1303338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05841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EE07C-7ADB-4AEF-8A75-AF7690BBE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Picture Placeholder 22">
            <a:extLst>
              <a:ext uri="{FF2B5EF4-FFF2-40B4-BE49-F238E27FC236}">
                <a16:creationId xmlns:a16="http://schemas.microsoft.com/office/drawing/2014/main" id="{79FAB9FF-C256-4241-BF15-7531CDB7CDB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black">
          <a:xfrm>
            <a:off x="6175375" y="1778000"/>
            <a:ext cx="2611437" cy="1897063"/>
          </a:xfrm>
          <a:custGeom>
            <a:avLst/>
            <a:gdLst>
              <a:gd name="connsiteX0" fmla="*/ 0 w 3048000"/>
              <a:gd name="connsiteY0" fmla="*/ 0 h 2068512"/>
              <a:gd name="connsiteX1" fmla="*/ 3048000 w 3048000"/>
              <a:gd name="connsiteY1" fmla="*/ 0 h 2068512"/>
              <a:gd name="connsiteX2" fmla="*/ 3048000 w 3048000"/>
              <a:gd name="connsiteY2" fmla="*/ 2068512 h 2068512"/>
              <a:gd name="connsiteX3" fmla="*/ 0 w 3048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8000" h="2068512">
                <a:moveTo>
                  <a:pt x="0" y="0"/>
                </a:moveTo>
                <a:lnTo>
                  <a:pt x="3048000" y="0"/>
                </a:lnTo>
                <a:lnTo>
                  <a:pt x="3048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A0EB980-B08A-464E-8F88-0360BE6924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8" name="Picture Placeholder 22">
            <a:extLst>
              <a:ext uri="{FF2B5EF4-FFF2-40B4-BE49-F238E27FC236}">
                <a16:creationId xmlns:a16="http://schemas.microsoft.com/office/drawing/2014/main" id="{83E78FF2-65CD-449B-9922-E85566DE6D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black">
          <a:xfrm>
            <a:off x="8943975" y="1778000"/>
            <a:ext cx="2611437" cy="1897063"/>
          </a:xfrm>
          <a:custGeom>
            <a:avLst/>
            <a:gdLst>
              <a:gd name="connsiteX0" fmla="*/ 0 w 3048000"/>
              <a:gd name="connsiteY0" fmla="*/ 0 h 2068512"/>
              <a:gd name="connsiteX1" fmla="*/ 3048000 w 3048000"/>
              <a:gd name="connsiteY1" fmla="*/ 0 h 2068512"/>
              <a:gd name="connsiteX2" fmla="*/ 3048000 w 3048000"/>
              <a:gd name="connsiteY2" fmla="*/ 2068512 h 2068512"/>
              <a:gd name="connsiteX3" fmla="*/ 0 w 3048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8000" h="2068512">
                <a:moveTo>
                  <a:pt x="0" y="0"/>
                </a:moveTo>
                <a:lnTo>
                  <a:pt x="3048000" y="0"/>
                </a:lnTo>
                <a:lnTo>
                  <a:pt x="3048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24E6A35B-2075-4651-90CA-5E1A10A1FF7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 bwMode="black">
          <a:xfrm>
            <a:off x="6175375" y="3848100"/>
            <a:ext cx="2611437" cy="1897063"/>
          </a:xfrm>
          <a:custGeom>
            <a:avLst/>
            <a:gdLst>
              <a:gd name="connsiteX0" fmla="*/ 0 w 3048000"/>
              <a:gd name="connsiteY0" fmla="*/ 0 h 2068512"/>
              <a:gd name="connsiteX1" fmla="*/ 3048000 w 3048000"/>
              <a:gd name="connsiteY1" fmla="*/ 0 h 2068512"/>
              <a:gd name="connsiteX2" fmla="*/ 3048000 w 3048000"/>
              <a:gd name="connsiteY2" fmla="*/ 2068512 h 2068512"/>
              <a:gd name="connsiteX3" fmla="*/ 0 w 3048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8000" h="2068512">
                <a:moveTo>
                  <a:pt x="0" y="0"/>
                </a:moveTo>
                <a:lnTo>
                  <a:pt x="3048000" y="0"/>
                </a:lnTo>
                <a:lnTo>
                  <a:pt x="3048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FFA1480F-7652-4160-9E06-FB4318D98A1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black">
          <a:xfrm>
            <a:off x="8943975" y="3848100"/>
            <a:ext cx="2611437" cy="1897063"/>
          </a:xfrm>
          <a:custGeom>
            <a:avLst/>
            <a:gdLst>
              <a:gd name="connsiteX0" fmla="*/ 0 w 3048000"/>
              <a:gd name="connsiteY0" fmla="*/ 0 h 2068512"/>
              <a:gd name="connsiteX1" fmla="*/ 3048000 w 3048000"/>
              <a:gd name="connsiteY1" fmla="*/ 0 h 2068512"/>
              <a:gd name="connsiteX2" fmla="*/ 3048000 w 3048000"/>
              <a:gd name="connsiteY2" fmla="*/ 2068512 h 2068512"/>
              <a:gd name="connsiteX3" fmla="*/ 0 w 3048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8000" h="2068512">
                <a:moveTo>
                  <a:pt x="0" y="0"/>
                </a:moveTo>
                <a:lnTo>
                  <a:pt x="3048000" y="0"/>
                </a:lnTo>
                <a:lnTo>
                  <a:pt x="3048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AC87912-648E-41DF-B401-E65D08F32A0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6588" y="1778000"/>
            <a:ext cx="5378450" cy="3967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89253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6586" y="1777999"/>
            <a:ext cx="5378451" cy="39671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 bwMode="ltGray">
          <a:xfrm>
            <a:off x="6175376" y="620713"/>
            <a:ext cx="5380037" cy="512445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 dirty="0"/>
              <a:t>Insert pictur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246264-C976-4438-9DBF-E9A42A636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6588" y="573406"/>
            <a:ext cx="5378449" cy="57721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BF9D512-BCB9-4ED0-8727-A9FB63127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6587" y="1150620"/>
            <a:ext cx="5378449" cy="25363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20133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E925382-A283-4E53-B32E-899C2B2D82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87" t="14043" r="7903" b="19268"/>
          <a:stretch/>
        </p:blipFill>
        <p:spPr>
          <a:xfrm>
            <a:off x="0" y="0"/>
            <a:ext cx="12192000" cy="59039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6588" y="635000"/>
            <a:ext cx="6302375" cy="182325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6600" spc="90" baseline="0">
                <a:solidFill>
                  <a:schemeClr val="bg1"/>
                </a:solidFill>
                <a:effectLst>
                  <a:outerShdw blurRad="317500" dist="38100" dir="2700000" algn="tl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here</a:t>
            </a:r>
            <a:br>
              <a:rPr lang="en-US" dirty="0"/>
            </a:br>
            <a:r>
              <a:rPr lang="en-US" dirty="0"/>
              <a:t>to add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FB65DA0-EED5-4E13-B40D-B63236343C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72775" y="6221719"/>
            <a:ext cx="1112520" cy="327672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4526FD41-E817-DE42-BB93-ADDB4D33D1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589" y="2458253"/>
            <a:ext cx="6302374" cy="1386672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3600" b="1" kern="1200" dirty="0">
                <a:solidFill>
                  <a:schemeClr val="bg1"/>
                </a:solidFill>
                <a:effectLst>
                  <a:outerShdw blurRad="546100" dist="38100" dir="5400000" algn="t" rotWithShape="0">
                    <a:prstClr val="black">
                      <a:alpha val="77000"/>
                    </a:prstClr>
                  </a:outerShdw>
                </a:effectLst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or subtitle onl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4168239"/>
            <a:ext cx="6302375" cy="1114961"/>
          </a:xfrm>
        </p:spPr>
        <p:txBody>
          <a:bodyPr anchor="b"/>
          <a:lstStyle>
            <a:lvl1pPr>
              <a:defRPr sz="2400" b="0">
                <a:solidFill>
                  <a:schemeClr val="bg1"/>
                </a:solidFill>
                <a:effectLst>
                  <a:outerShdw blurRad="254000" dist="38100" dir="2700000" sx="101000" sy="101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GB" dirty="0"/>
              <a:t>For presenter’s name or dat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7790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88078E1-95BA-4758-818E-17B09711FD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1992" r="15570" b="32806"/>
          <a:stretch/>
        </p:blipFill>
        <p:spPr>
          <a:xfrm>
            <a:off x="1" y="0"/>
            <a:ext cx="12192000" cy="590391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36588" y="635000"/>
            <a:ext cx="6302375" cy="182325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6600" spc="90" baseline="0">
                <a:solidFill>
                  <a:schemeClr val="bg1"/>
                </a:solidFill>
                <a:effectLst>
                  <a:outerShdw blurRad="495300" dist="50800" dir="5400000" algn="ctr" rotWithShape="0">
                    <a:srgbClr val="000000">
                      <a:alpha val="99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here</a:t>
            </a:r>
            <a:br>
              <a:rPr lang="en-US" dirty="0"/>
            </a:br>
            <a:r>
              <a:rPr lang="en-US" dirty="0"/>
              <a:t>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D98B72-53D8-41DD-B836-0D58E71DF6A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72775" y="6221719"/>
            <a:ext cx="1112520" cy="327672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2C36C3E8-006C-FB41-8B7C-B9D73DAC27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589" y="2458253"/>
            <a:ext cx="6302374" cy="1386672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3600" b="1" kern="1200" dirty="0">
                <a:solidFill>
                  <a:schemeClr val="bg1"/>
                </a:solidFill>
                <a:effectLst>
                  <a:outerShdw blurRad="546100" dist="38100" dir="5400000" algn="t" rotWithShape="0">
                    <a:prstClr val="black">
                      <a:alpha val="77000"/>
                    </a:prstClr>
                  </a:outerShdw>
                </a:effectLst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or subtitle only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D5899DB-3C46-5742-AF07-64CF07588C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4168239"/>
            <a:ext cx="6302375" cy="1114961"/>
          </a:xfrm>
        </p:spPr>
        <p:txBody>
          <a:bodyPr anchor="b"/>
          <a:lstStyle>
            <a:lvl1pPr>
              <a:defRPr sz="2400" b="0">
                <a:solidFill>
                  <a:schemeClr val="bg1"/>
                </a:solidFill>
                <a:effectLst>
                  <a:outerShdw blurRad="254000" dist="38100" dir="2700000" sx="101000" sy="101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GB" dirty="0"/>
              <a:t>For presenter’s name or dat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892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39" t="19728" r="20872" b="29556"/>
          <a:stretch/>
        </p:blipFill>
        <p:spPr>
          <a:xfrm>
            <a:off x="0" y="0"/>
            <a:ext cx="12192000" cy="5903913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36588" y="635000"/>
            <a:ext cx="6302375" cy="182325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6600" spc="90" baseline="0">
                <a:solidFill>
                  <a:schemeClr val="bg1"/>
                </a:solidFill>
                <a:effectLst>
                  <a:outerShdw blurRad="317500" dist="38100" dir="2700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here </a:t>
            </a:r>
            <a:br>
              <a:rPr lang="en-US" dirty="0"/>
            </a:br>
            <a:r>
              <a:rPr lang="en-US" dirty="0"/>
              <a:t>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D35C3A-8C30-4789-9C37-F1247F4BC69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72775" y="6221719"/>
            <a:ext cx="1112520" cy="327672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6F86FA3B-0E25-0244-B736-AADDFC4A7F2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589" y="2458253"/>
            <a:ext cx="6302374" cy="1386672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3600" b="1" kern="1200" dirty="0">
                <a:solidFill>
                  <a:schemeClr val="bg1"/>
                </a:solidFill>
                <a:effectLst>
                  <a:outerShdw blurRad="546100" dist="38100" dir="5400000" algn="t" rotWithShape="0">
                    <a:prstClr val="black">
                      <a:alpha val="77000"/>
                    </a:prstClr>
                  </a:outerShdw>
                </a:effectLst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or subtitle only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FF2DB13-342C-6548-A603-01DE207BDA0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4168239"/>
            <a:ext cx="6302375" cy="1114961"/>
          </a:xfrm>
        </p:spPr>
        <p:txBody>
          <a:bodyPr anchor="b"/>
          <a:lstStyle>
            <a:lvl1pPr>
              <a:defRPr sz="2400" b="0">
                <a:solidFill>
                  <a:schemeClr val="bg1"/>
                </a:solidFill>
                <a:effectLst>
                  <a:outerShdw blurRad="254000" dist="38100" dir="2700000" sx="101000" sy="101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GB" dirty="0"/>
              <a:t>For presenter’s name or dat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975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6588" y="1778000"/>
            <a:ext cx="10918825" cy="3967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463B0D48-61C2-4CA3-A1F5-D9E2168437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433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CEC6F76-B308-4585-9C8D-66C72FBBF4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5" t="16836" r="26783" b="30304"/>
          <a:stretch/>
        </p:blipFill>
        <p:spPr>
          <a:xfrm>
            <a:off x="0" y="0"/>
            <a:ext cx="12191999" cy="5903913"/>
          </a:xfrm>
          <a:prstGeom prst="rect">
            <a:avLst/>
          </a:prstGeom>
        </p:spPr>
      </p:pic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6589" y="2458253"/>
            <a:ext cx="6302374" cy="1386672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3600" b="1" kern="1200" dirty="0">
                <a:solidFill>
                  <a:schemeClr val="bg1"/>
                </a:solidFill>
                <a:effectLst>
                  <a:outerShdw blurRad="546100" dist="38100" dir="5400000" algn="t" rotWithShape="0">
                    <a:prstClr val="black">
                      <a:alpha val="77000"/>
                    </a:prstClr>
                  </a:outerShdw>
                </a:effectLst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or subtitle only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9992F4-BC8D-44FC-AEDB-FB58E37280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72775" y="6221719"/>
            <a:ext cx="1112520" cy="32767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DDCFBE9-B21F-431E-A512-71CA1F4690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6589" y="635001"/>
            <a:ext cx="6302374" cy="182325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6600" spc="90" baseline="0">
                <a:solidFill>
                  <a:schemeClr val="bg1"/>
                </a:solidFill>
                <a:effectLst>
                  <a:outerShdw blurRad="495300" dist="50800" dir="5400000" algn="ctr" rotWithShape="0">
                    <a:srgbClr val="000000">
                      <a:alpha val="99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here</a:t>
            </a:r>
            <a:br>
              <a:rPr lang="en-US" dirty="0"/>
            </a:br>
            <a:r>
              <a:rPr lang="en-US" dirty="0"/>
              <a:t>to add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502A9BA-0A59-134D-BFAC-3AE82C0F03C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4168239"/>
            <a:ext cx="6302375" cy="1114961"/>
          </a:xfrm>
        </p:spPr>
        <p:txBody>
          <a:bodyPr anchor="b"/>
          <a:lstStyle>
            <a:lvl1pPr>
              <a:defRPr sz="2400" b="0">
                <a:solidFill>
                  <a:schemeClr val="bg1"/>
                </a:solidFill>
                <a:effectLst>
                  <a:outerShdw blurRad="254000" dist="38100" dir="2700000" sx="101000" sy="101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GB" dirty="0"/>
              <a:t>For presenter’s name or dat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9517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75750AF-B69F-2F4F-AF6A-9B615101B41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black">
          <a:xfrm>
            <a:off x="-1" y="0"/>
            <a:ext cx="12192000" cy="5903913"/>
          </a:xfrm>
          <a:custGeom>
            <a:avLst/>
            <a:gdLst>
              <a:gd name="connsiteX0" fmla="*/ 0 w 12192000"/>
              <a:gd name="connsiteY0" fmla="*/ 0 h 5903913"/>
              <a:gd name="connsiteX1" fmla="*/ 12192000 w 12192000"/>
              <a:gd name="connsiteY1" fmla="*/ 0 h 5903913"/>
              <a:gd name="connsiteX2" fmla="*/ 12192000 w 12192000"/>
              <a:gd name="connsiteY2" fmla="*/ 5903913 h 5903913"/>
              <a:gd name="connsiteX3" fmla="*/ 0 w 12192000"/>
              <a:gd name="connsiteY3" fmla="*/ 5903913 h 590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5903913">
                <a:moveTo>
                  <a:pt x="0" y="0"/>
                </a:moveTo>
                <a:lnTo>
                  <a:pt x="12192000" y="0"/>
                </a:lnTo>
                <a:lnTo>
                  <a:pt x="12192000" y="5903913"/>
                </a:lnTo>
                <a:lnTo>
                  <a:pt x="0" y="5903913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6589" y="2458253"/>
            <a:ext cx="3689349" cy="1386672"/>
          </a:xfrm>
          <a:prstGeom prst="rect">
            <a:avLst/>
          </a:prstGeo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3600" b="1">
                <a:solidFill>
                  <a:schemeClr val="bg1"/>
                </a:solidFill>
                <a:effectLst>
                  <a:outerShdw blurRad="317500" dist="50800" dir="5400000" algn="ctr" rotWithShape="0">
                    <a:srgbClr val="000000">
                      <a:alpha val="30000"/>
                    </a:srgbClr>
                  </a:outerShdw>
                </a:effectLst>
                <a:latin typeface="TESCO Modern" panose="0200050603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or subtitl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36588" y="635000"/>
            <a:ext cx="6302375" cy="182325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6600" spc="90" baseline="0">
                <a:solidFill>
                  <a:schemeClr val="bg1"/>
                </a:solidFill>
                <a:effectLst>
                  <a:outerShdw blurRad="317500" dist="38100" dir="2700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r>
              <a:rPr lang="en-US" dirty="0"/>
              <a:t>Click here </a:t>
            </a:r>
            <a:br>
              <a:rPr lang="en-US" dirty="0"/>
            </a:br>
            <a:r>
              <a:rPr lang="en-US" dirty="0"/>
              <a:t>to add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D35C3A-8C30-4789-9C37-F1247F4BC6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2775" y="6221719"/>
            <a:ext cx="1112520" cy="327672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DDA65CE-57A7-C748-AA4D-3EEFFE59CF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4168239"/>
            <a:ext cx="6302375" cy="1114961"/>
          </a:xfrm>
        </p:spPr>
        <p:txBody>
          <a:bodyPr anchor="b"/>
          <a:lstStyle>
            <a:lvl1pPr>
              <a:defRPr sz="2400" b="0">
                <a:solidFill>
                  <a:schemeClr val="bg1"/>
                </a:solidFill>
                <a:effectLst>
                  <a:outerShdw blurRad="381000" dist="38100" dir="2700000" sx="101000" sy="101000" algn="tl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GB" dirty="0"/>
              <a:t>For presenter’s name or dat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6464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A9992F4-BC8D-44FC-AEDB-FB58E37280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2775" y="6221719"/>
            <a:ext cx="1112520" cy="32767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E43C0A6-1A2A-4694-B45E-AC5A3C16453C}"/>
              </a:ext>
            </a:extLst>
          </p:cNvPr>
          <p:cNvSpPr/>
          <p:nvPr userDrawn="1"/>
        </p:nvSpPr>
        <p:spPr>
          <a:xfrm>
            <a:off x="0" y="0"/>
            <a:ext cx="12192000" cy="5903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32DE1AB8-0C92-4F46-B6B8-6481E2812F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589" y="2458253"/>
            <a:ext cx="9070974" cy="1386672"/>
          </a:xfrm>
          <a:prstGeom prst="rect">
            <a:avLst/>
          </a:prstGeo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3600" b="1">
                <a:solidFill>
                  <a:schemeClr val="bg1"/>
                </a:solidFill>
                <a:latin typeface="TESCO Modern" panose="0200050603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or subtitle only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9AC704D-7965-4A14-AFB7-84C795D77B4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6588" y="635000"/>
            <a:ext cx="10918825" cy="182325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6600" spc="9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add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B22D0B8-95C7-4E83-AC22-9A85171681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4168239"/>
            <a:ext cx="9070975" cy="1114961"/>
          </a:xfrm>
        </p:spPr>
        <p:txBody>
          <a:bodyPr anchor="b"/>
          <a:lstStyle>
            <a:lvl1pPr>
              <a:defRPr sz="24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GB" dirty="0"/>
              <a:t>For presenter’s name or dat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7000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A9992F4-BC8D-44FC-AEDB-FB58E37280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2775" y="6221719"/>
            <a:ext cx="1112520" cy="32767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0DF6A3E-78CE-4AC3-BF64-6898CC1E6ED8}"/>
              </a:ext>
            </a:extLst>
          </p:cNvPr>
          <p:cNvSpPr/>
          <p:nvPr userDrawn="1"/>
        </p:nvSpPr>
        <p:spPr>
          <a:xfrm>
            <a:off x="0" y="0"/>
            <a:ext cx="12192000" cy="59039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77423AD-107B-49FB-94E0-4486316B03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589" y="2458253"/>
            <a:ext cx="5879358" cy="1386672"/>
          </a:xfrm>
          <a:prstGeom prst="rect">
            <a:avLst/>
          </a:prstGeom>
        </p:spPr>
        <p:txBody>
          <a:bodyPr anchor="t"/>
          <a:lstStyle>
            <a:lvl1pPr marL="0" indent="0" algn="l">
              <a:spcBef>
                <a:spcPts val="0"/>
              </a:spcBef>
              <a:buNone/>
              <a:defRPr sz="3600" b="1">
                <a:solidFill>
                  <a:schemeClr val="bg1"/>
                </a:solidFill>
                <a:latin typeface="TESCO Modern" panose="0200050603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For subtitle only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26A3896-B53C-4F4C-89DE-355A5AADF4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6588" y="635000"/>
            <a:ext cx="5879359" cy="182325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6600" spc="9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here to add titl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4A113B06-A61A-4DC3-A4A5-2E069FAA65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96124" y="-1"/>
            <a:ext cx="5095875" cy="590391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65ED43B-8D6C-4CCC-9ED2-9D09CE0721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6589" y="4168239"/>
            <a:ext cx="5879358" cy="1114961"/>
          </a:xfrm>
        </p:spPr>
        <p:txBody>
          <a:bodyPr anchor="b"/>
          <a:lstStyle>
            <a:lvl1pPr>
              <a:defRPr sz="2400" b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GB" dirty="0"/>
              <a:t>For presenter’s name or date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9729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589" y="573407"/>
            <a:ext cx="10918825" cy="590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62527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8" y="1761173"/>
            <a:ext cx="11399837" cy="4116387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3pPr>
              <a:defRPr sz="2100"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 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33562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07682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76222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B6BE986-07D7-4298-9F09-D6A5A3740D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5610225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4A0DB6-6EF4-4E9C-994C-42816EF0A6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8" y="342000"/>
            <a:ext cx="4632325" cy="2701653"/>
          </a:xfrm>
        </p:spPr>
        <p:txBody>
          <a:bodyPr/>
          <a:lstStyle>
            <a:lvl1pPr>
              <a:defRPr sz="9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DA0B0AF1-B9C1-4D82-B9D7-D3FE3605A0C4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184900" y="395288"/>
            <a:ext cx="5610225" cy="54991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48864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C15670-2682-4E9A-81E9-C7F78A6277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D3BAD5A-E7FD-4DCE-9C47-4A11B06ED4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8944266-0FA8-4477-85BF-DD8B45B1FE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8" y="2095778"/>
            <a:ext cx="11399837" cy="3798610"/>
          </a:xfrm>
        </p:spPr>
        <p:txBody>
          <a:bodyPr/>
          <a:lstStyle>
            <a:lvl1pPr marL="270000" indent="-270000">
              <a:lnSpc>
                <a:spcPct val="97000"/>
              </a:lnSpc>
              <a:spcAft>
                <a:spcPts val="0"/>
              </a:spcAft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quotation or statement</a:t>
            </a:r>
          </a:p>
        </p:txBody>
      </p:sp>
    </p:spTree>
    <p:extLst>
      <p:ext uri="{BB962C8B-B14F-4D97-AF65-F5344CB8AC3E}">
        <p14:creationId xmlns:p14="http://schemas.microsoft.com/office/powerpoint/2010/main" val="305824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6588" y="1778000"/>
            <a:ext cx="5376862" cy="3967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376" y="1777999"/>
            <a:ext cx="5380037" cy="39671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F768880-86A1-4DB9-BFB2-185D048BC2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92B5077-3501-4CAC-B6CD-8B0B2F999C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63740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8" y="342000"/>
            <a:ext cx="5610225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5610224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FE1B538-B42A-49D3-B7DB-BDEE85612D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84400" y="0"/>
            <a:ext cx="5607600" cy="5894388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1EDB97A-485A-4D42-95B1-DD39B05A42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5288" y="1761173"/>
            <a:ext cx="5610225" cy="4116388"/>
          </a:xfrm>
        </p:spPr>
        <p:txBody>
          <a:bodyPr/>
          <a:lstStyle>
            <a:lvl1pPr>
              <a:defRPr sz="2100"/>
            </a:lvl1pPr>
            <a:lvl2pPr>
              <a:defRPr sz="2200"/>
            </a:lvl2pPr>
            <a:lvl3pPr>
              <a:defRPr sz="2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50691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FE1B538-B42A-49D3-B7DB-BDEE85612D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680000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9F80D1-93C0-4329-A083-331271D595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340702"/>
            <a:ext cx="3679825" cy="1815123"/>
          </a:xfrm>
        </p:spPr>
        <p:txBody>
          <a:bodyPr/>
          <a:lstStyle>
            <a:lvl1pPr>
              <a:lnSpc>
                <a:spcPct val="90000"/>
              </a:lnSpc>
              <a:defRPr sz="4500" spc="-3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9D6BDE-04FF-4058-8BFF-16EF96AD9F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19699" y="395288"/>
            <a:ext cx="6577013" cy="5237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30450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Li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FE1B538-B42A-49D3-B7DB-BDEE85612D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5610225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9F80D1-93C0-4329-A083-331271D595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7" y="340702"/>
            <a:ext cx="4645026" cy="1815123"/>
          </a:xfrm>
        </p:spPr>
        <p:txBody>
          <a:bodyPr/>
          <a:lstStyle>
            <a:lvl1pPr>
              <a:lnSpc>
                <a:spcPct val="90000"/>
              </a:lnSpc>
              <a:defRPr sz="4500" spc="-3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D3697DA-6552-4881-BE32-443BD4BBABDD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184900" y="395288"/>
            <a:ext cx="5610225" cy="5237162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654115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Li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9F80D1-93C0-4329-A083-331271D595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7" y="340702"/>
            <a:ext cx="4645026" cy="1815123"/>
          </a:xfrm>
        </p:spPr>
        <p:txBody>
          <a:bodyPr/>
          <a:lstStyle>
            <a:lvl1pPr>
              <a:lnSpc>
                <a:spcPct val="90000"/>
              </a:lnSpc>
              <a:defRPr sz="4500" spc="-3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41547BB-8A5F-47B8-912D-8E4B7C047FD7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184900" y="395288"/>
            <a:ext cx="5611813" cy="5237162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91598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Short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2685CD-4B33-4DD4-899B-8476765028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1761173"/>
            <a:ext cx="6575425" cy="41265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8028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ong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F768880-86A1-4DB9-BFB2-185D048BC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9D3BA69-988F-467F-B4D0-BC95B0EC77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D6890E-78FA-477A-BA65-CA9A67F778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8" y="1761173"/>
            <a:ext cx="5402262" cy="4143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08458B8-CF56-4014-A861-A0E29B4336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2863" y="1761173"/>
            <a:ext cx="5402262" cy="4143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16271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Long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7E223-C2EB-4A9F-8F71-CAA8B1A2D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A1AA322-AB4B-461B-BAC1-E3D2C261D8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366D9F-CFC7-4363-AA0D-3B1E2920E8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8" y="1761173"/>
            <a:ext cx="3677381" cy="4143376"/>
          </a:xfrm>
        </p:spPr>
        <p:txBody>
          <a:bodyPr rIns="360000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0304664-4B9C-482D-BB89-F3F8B5FD77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6515" y="1761173"/>
            <a:ext cx="3677381" cy="4143376"/>
          </a:xfrm>
        </p:spPr>
        <p:txBody>
          <a:bodyPr rIns="360000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038E25-A619-4464-A5E3-7EC891F008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15299" y="1761173"/>
            <a:ext cx="3679825" cy="4143376"/>
          </a:xfrm>
        </p:spPr>
        <p:txBody>
          <a:bodyPr rIns="360000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3425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Long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7E223-C2EB-4A9F-8F71-CAA8B1A2D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A1AA322-AB4B-461B-BAC1-E3D2C261D8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366D9F-CFC7-4363-AA0D-3B1E2920E8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8" y="1761173"/>
            <a:ext cx="2714625" cy="4143376"/>
          </a:xfrm>
        </p:spPr>
        <p:txBody>
          <a:bodyPr rIns="36000"/>
          <a:lstStyle>
            <a:lvl4pPr>
              <a:defRPr sz="1600"/>
            </a:lvl4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0304664-4B9C-482D-BB89-F3F8B5FD77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99808" y="1761173"/>
            <a:ext cx="2705705" cy="4143376"/>
          </a:xfrm>
        </p:spPr>
        <p:txBody>
          <a:bodyPr rIns="36000"/>
          <a:lstStyle>
            <a:lvl4pPr>
              <a:defRPr sz="1600"/>
            </a:lvl4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038E25-A619-4464-A5E3-7EC891F008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900" y="1761173"/>
            <a:ext cx="2719880" cy="4143376"/>
          </a:xfrm>
        </p:spPr>
        <p:txBody>
          <a:bodyPr rIns="36000"/>
          <a:lstStyle>
            <a:lvl4pPr>
              <a:defRPr sz="1600"/>
            </a:lvl4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221CD17-7402-4C11-A738-EB2E70E5A1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0499" y="1761173"/>
            <a:ext cx="2714625" cy="4143376"/>
          </a:xfrm>
        </p:spPr>
        <p:txBody>
          <a:bodyPr rIns="36000"/>
          <a:lstStyle>
            <a:lvl4pPr>
              <a:defRPr sz="1600"/>
            </a:lvl4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52094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l a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C8DC833-EE3B-410B-9A43-6E8F8FBA515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60000" y="1751012"/>
            <a:ext cx="4032000" cy="4140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3"/>
            <a:ext cx="4032000" cy="4139999"/>
          </a:xfrm>
          <a:solidFill>
            <a:srgbClr val="F1F0F0"/>
          </a:solidFill>
        </p:spPr>
        <p:txBody>
          <a:bodyPr lIns="396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A514026-B35C-4343-B01F-223AE5A17C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5408" y="1751013"/>
            <a:ext cx="4033838" cy="4143375"/>
          </a:xfrm>
        </p:spPr>
        <p:txBody>
          <a:bodyPr tIns="144000"/>
          <a:lstStyle>
            <a:lvl1pPr marL="396000"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le headlin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1751013"/>
            <a:ext cx="4032000" cy="4139999"/>
          </a:xfrm>
          <a:solidFill>
            <a:srgbClr val="F1F0F0"/>
          </a:solidFill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B1B53B1-DF19-41C9-AC46-3C4819EC7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60000" y="1751013"/>
            <a:ext cx="4032000" cy="617672"/>
          </a:xfrm>
          <a:noFill/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0139D30-D3E6-4B85-AB95-2C90892081D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95288" y="2854800"/>
            <a:ext cx="3330000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1C380E8-45ED-414E-A502-0CCE74C6A78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254500" y="2854800"/>
            <a:ext cx="3671253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1571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ll a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1751013"/>
            <a:ext cx="4032000" cy="4139999"/>
          </a:xfrm>
          <a:solidFill>
            <a:srgbClr val="F1F0F0"/>
          </a:solidFill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3"/>
            <a:ext cx="4032000" cy="4139999"/>
          </a:xfrm>
          <a:solidFill>
            <a:srgbClr val="F1F0F0"/>
          </a:solidFill>
        </p:spPr>
        <p:txBody>
          <a:bodyPr lIns="396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0139D30-D3E6-4B85-AB95-2C90892081D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95288" y="2854800"/>
            <a:ext cx="3330000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0F5F195-43C8-1C4A-8016-DE2A1B62AE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000" y="1751013"/>
            <a:ext cx="4032000" cy="4140000"/>
          </a:xfrm>
          <a:solidFill>
            <a:srgbClr val="F1F0F0"/>
          </a:solidFill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88E1EBF-ADB1-FD43-A3B9-1586DF1841E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328972" y="2854800"/>
            <a:ext cx="3403706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38803B7C-9839-5541-A4EF-6ABCC577EE4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254500" y="2854800"/>
            <a:ext cx="3671253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696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36587" y="1778000"/>
            <a:ext cx="3528219" cy="667657"/>
          </a:xfrm>
        </p:spPr>
        <p:txBody>
          <a:bodyPr/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33876" y="1778000"/>
            <a:ext cx="3528219" cy="667657"/>
          </a:xfrm>
        </p:spPr>
        <p:txBody>
          <a:bodyPr/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8026400" y="1778000"/>
            <a:ext cx="3528219" cy="667657"/>
          </a:xfrm>
        </p:spPr>
        <p:txBody>
          <a:bodyPr/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636587" y="2714625"/>
            <a:ext cx="3528219" cy="303053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331494" y="2714625"/>
            <a:ext cx="3528219" cy="303053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8026400" y="2714625"/>
            <a:ext cx="3528219" cy="3030538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A42E0A-38D1-4C14-9E54-0F833BBF3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99AEF2-905A-4566-9E22-6F6179B9FF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91106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 of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8F82BE91-3964-48C2-83EF-465E652174F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80000" y="1751013"/>
            <a:ext cx="4032000" cy="4140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3"/>
            <a:ext cx="4032000" cy="4140000"/>
          </a:xfrm>
          <a:solidFill>
            <a:srgbClr val="F1F0F0"/>
          </a:solidFill>
        </p:spPr>
        <p:txBody>
          <a:bodyPr lIns="396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1751013"/>
            <a:ext cx="4032000" cy="645115"/>
          </a:xfrm>
          <a:noFill/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818D9F9-B19D-404D-B7D5-E84E8580B6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000" y="1751013"/>
            <a:ext cx="4032000" cy="4140000"/>
          </a:xfrm>
          <a:solidFill>
            <a:srgbClr val="F1F0F0"/>
          </a:solidFill>
        </p:spPr>
        <p:txBody>
          <a:bodyPr vert="horz" lIns="180000" tIns="144000" rIns="0" bIns="0" rtlCol="0">
            <a:noAutofit/>
          </a:bodyPr>
          <a:lstStyle>
            <a:lvl1pPr>
              <a:defRPr lang="en-GB" sz="22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9525" lvl="0">
              <a:tabLst/>
            </a:pPr>
            <a:r>
              <a:rPr lang="en-US"/>
              <a:t>Click to edit headline</a:t>
            </a:r>
            <a:endParaRPr lang="en-GB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70B5C625-95B8-1341-AECE-34F95E57753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95288" y="2854800"/>
            <a:ext cx="3330000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018034FB-FE8D-FF42-9A72-36D72D51F1E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328972" y="2854800"/>
            <a:ext cx="3403706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81907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3"/>
            <a:ext cx="4039200" cy="2052000"/>
          </a:xfrm>
          <a:solidFill>
            <a:schemeClr val="accent1"/>
          </a:solidFill>
        </p:spPr>
        <p:txBody>
          <a:bodyPr vert="horz" lIns="396000" tIns="144000" rIns="180000" bIns="0" rtlCol="0">
            <a:noAutofit/>
          </a:bodyPr>
          <a:lstStyle>
            <a:lvl1pPr>
              <a:lnSpc>
                <a:spcPct val="80000"/>
              </a:lnSpc>
              <a:defRPr lang="en-US" sz="4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80000"/>
              </a:lnSpc>
              <a:spcAft>
                <a:spcPts val="0"/>
              </a:spcAft>
            </a:pPr>
            <a:r>
              <a:rPr lang="en-US"/>
              <a:t>Click to edit point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A558F7F-7DE3-4F31-9E03-6CE8D2CC7B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52800" y="1751013"/>
            <a:ext cx="4039200" cy="2052000"/>
          </a:xfrm>
          <a:solidFill>
            <a:schemeClr val="accent1"/>
          </a:solidFill>
        </p:spPr>
        <p:txBody>
          <a:bodyPr lIns="216000" tIns="144000" rIns="396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poin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5314A79-4F72-4540-9055-5722F7A70C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5113" y="1751013"/>
            <a:ext cx="4039200" cy="2052000"/>
          </a:xfrm>
          <a:solidFill>
            <a:srgbClr val="F1F0F0"/>
          </a:solidFill>
        </p:spPr>
        <p:txBody>
          <a:bodyPr vert="horz" lIns="180000" tIns="144000" rIns="180000" bIns="0" rtlCol="0">
            <a:noAutofit/>
          </a:bodyPr>
          <a:lstStyle>
            <a:lvl1pPr>
              <a:lnSpc>
                <a:spcPct val="80000"/>
              </a:lnSpc>
              <a:defRPr lang="en-GB" sz="4000" dirty="0">
                <a:solidFill>
                  <a:schemeClr val="accent1"/>
                </a:solidFill>
                <a:latin typeface="+mj-lt"/>
              </a:defRPr>
            </a:lvl1pPr>
            <a:lvl3pPr marL="0" indent="0">
              <a:buNone/>
              <a:defRPr sz="1500"/>
            </a:lvl3pPr>
          </a:lstStyle>
          <a:p>
            <a:pPr lvl="0">
              <a:lnSpc>
                <a:spcPct val="80000"/>
              </a:lnSpc>
              <a:spcAft>
                <a:spcPts val="0"/>
              </a:spcAft>
            </a:pPr>
            <a:r>
              <a:rPr lang="en-US"/>
              <a:t>Click to edit poin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1DE6D03-6E63-4C7B-A094-122D6CDCC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80000" y="3837600"/>
            <a:ext cx="4039200" cy="2052000"/>
          </a:xfrm>
          <a:solidFill>
            <a:schemeClr val="accent1"/>
          </a:solidFill>
        </p:spPr>
        <p:txBody>
          <a:bodyPr lIns="180000" tIns="144000" rIns="180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poin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5B3D85-14F1-4639-ADD0-DC13ACBEB8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3837600"/>
            <a:ext cx="4039200" cy="2052000"/>
          </a:xfrm>
          <a:solidFill>
            <a:srgbClr val="F1F0F0"/>
          </a:solidFill>
        </p:spPr>
        <p:txBody>
          <a:bodyPr lIns="396000" tIns="144000" rIns="180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/>
            </a:lvl2pPr>
            <a:lvl3pPr marL="0" indent="0">
              <a:buNone/>
              <a:defRPr sz="1500"/>
            </a:lvl3pPr>
          </a:lstStyle>
          <a:p>
            <a:pPr lvl="0"/>
            <a:r>
              <a:rPr lang="en-US"/>
              <a:t>Click to edit point</a:t>
            </a:r>
          </a:p>
          <a:p>
            <a:pPr lvl="1"/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03E2E5A-10AC-44F8-8628-07B5D9ACB1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2800" y="3837600"/>
            <a:ext cx="4039200" cy="2052000"/>
          </a:xfrm>
          <a:solidFill>
            <a:srgbClr val="F1F0F0"/>
          </a:solidFill>
        </p:spPr>
        <p:txBody>
          <a:bodyPr lIns="216000" tIns="144000" rIns="396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accent1"/>
                </a:solidFill>
                <a:latin typeface="+mj-lt"/>
              </a:defRPr>
            </a:lvl1pPr>
            <a:lvl3pPr marL="0" indent="0">
              <a:buNone/>
              <a:defRPr sz="1500"/>
            </a:lvl3pPr>
          </a:lstStyle>
          <a:p>
            <a:pPr lvl="0"/>
            <a:r>
              <a:rPr lang="en-US"/>
              <a:t>Click to edit point</a:t>
            </a:r>
          </a:p>
        </p:txBody>
      </p:sp>
    </p:spTree>
    <p:extLst>
      <p:ext uri="{BB962C8B-B14F-4D97-AF65-F5344CB8AC3E}">
        <p14:creationId xmlns:p14="http://schemas.microsoft.com/office/powerpoint/2010/main" val="7127851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3"/>
            <a:ext cx="4039200" cy="2052000"/>
          </a:xfrm>
          <a:solidFill>
            <a:schemeClr val="bg1">
              <a:lumMod val="95000"/>
            </a:schemeClr>
          </a:solidFill>
        </p:spPr>
        <p:txBody>
          <a:bodyPr vert="horz" lIns="396000" tIns="144000" rIns="180000" bIns="0" rtlCol="0">
            <a:noAutofit/>
          </a:bodyPr>
          <a:lstStyle>
            <a:lvl1pPr>
              <a:lnSpc>
                <a:spcPct val="80000"/>
              </a:lnSpc>
              <a:defRPr lang="en-US" sz="4000" dirty="0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lnSpc>
                <a:spcPct val="80000"/>
              </a:lnSpc>
              <a:spcAft>
                <a:spcPts val="0"/>
              </a:spcAft>
            </a:pPr>
            <a:r>
              <a:rPr lang="en-US"/>
              <a:t>Click to edit point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A558F7F-7DE3-4F31-9E03-6CE8D2CC7B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52800" y="1751013"/>
            <a:ext cx="4039200" cy="2052000"/>
          </a:xfrm>
          <a:solidFill>
            <a:schemeClr val="bg1">
              <a:lumMod val="95000"/>
            </a:schemeClr>
          </a:solidFill>
        </p:spPr>
        <p:txBody>
          <a:bodyPr lIns="216000" tIns="144000" rIns="396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poin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5314A79-4F72-4540-9055-5722F7A70C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5113" y="1751013"/>
            <a:ext cx="4039200" cy="2052000"/>
          </a:xfrm>
          <a:solidFill>
            <a:schemeClr val="tx1"/>
          </a:solidFill>
        </p:spPr>
        <p:txBody>
          <a:bodyPr vert="horz" lIns="180000" tIns="144000" rIns="180000" bIns="0" rtlCol="0">
            <a:noAutofit/>
          </a:bodyPr>
          <a:lstStyle>
            <a:lvl1pPr>
              <a:lnSpc>
                <a:spcPct val="80000"/>
              </a:lnSpc>
              <a:defRPr lang="en-GB" sz="4000" dirty="0">
                <a:solidFill>
                  <a:schemeClr val="bg1"/>
                </a:solidFill>
                <a:latin typeface="+mj-lt"/>
              </a:defRPr>
            </a:lvl1pPr>
            <a:lvl3pPr marL="0" indent="0">
              <a:buNone/>
              <a:defRPr sz="1500"/>
            </a:lvl3pPr>
          </a:lstStyle>
          <a:p>
            <a:pPr lvl="0">
              <a:lnSpc>
                <a:spcPct val="80000"/>
              </a:lnSpc>
              <a:spcAft>
                <a:spcPts val="0"/>
              </a:spcAft>
            </a:pPr>
            <a:r>
              <a:rPr lang="en-US"/>
              <a:t>Click to edit poin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1DE6D03-6E63-4C7B-A094-122D6CDCC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80000" y="3837600"/>
            <a:ext cx="4039200" cy="2052000"/>
          </a:xfrm>
          <a:solidFill>
            <a:schemeClr val="bg1">
              <a:lumMod val="95000"/>
            </a:schemeClr>
          </a:solidFill>
        </p:spPr>
        <p:txBody>
          <a:bodyPr lIns="180000" tIns="144000" rIns="180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poin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5B3D85-14F1-4639-ADD0-DC13ACBEB8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3837600"/>
            <a:ext cx="4039200" cy="2052000"/>
          </a:xfrm>
          <a:solidFill>
            <a:schemeClr val="tx1"/>
          </a:solidFill>
        </p:spPr>
        <p:txBody>
          <a:bodyPr lIns="396000" tIns="144000" rIns="180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80000"/>
              </a:lnSpc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/>
            </a:lvl3pPr>
          </a:lstStyle>
          <a:p>
            <a:pPr lvl="0"/>
            <a:r>
              <a:rPr lang="en-US"/>
              <a:t>Click to edit point</a:t>
            </a:r>
          </a:p>
          <a:p>
            <a:pPr lvl="1"/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03E2E5A-10AC-44F8-8628-07B5D9ACB1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2800" y="3837600"/>
            <a:ext cx="4039200" cy="2052000"/>
          </a:xfrm>
          <a:solidFill>
            <a:schemeClr val="tx1"/>
          </a:solidFill>
        </p:spPr>
        <p:txBody>
          <a:bodyPr lIns="216000" tIns="144000" rIns="396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bg1"/>
                </a:solidFill>
                <a:latin typeface="+mj-lt"/>
              </a:defRPr>
            </a:lvl1pPr>
            <a:lvl3pPr marL="0" indent="0">
              <a:buNone/>
              <a:defRPr sz="1500"/>
            </a:lvl3pPr>
          </a:lstStyle>
          <a:p>
            <a:pPr lvl="0"/>
            <a:r>
              <a:rPr lang="en-US"/>
              <a:t>Click to edit point</a:t>
            </a:r>
          </a:p>
        </p:txBody>
      </p:sp>
    </p:spTree>
    <p:extLst>
      <p:ext uri="{BB962C8B-B14F-4D97-AF65-F5344CB8AC3E}">
        <p14:creationId xmlns:p14="http://schemas.microsoft.com/office/powerpoint/2010/main" val="1433048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wcase T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839012"/>
            <a:ext cx="4032000" cy="2052000"/>
          </a:xfrm>
          <a:solidFill>
            <a:srgbClr val="F1F0F0"/>
          </a:solidFill>
        </p:spPr>
        <p:txBody>
          <a:bodyPr tIns="144000" rIns="180000"/>
          <a:lstStyle>
            <a:lvl1pPr marL="396000">
              <a:defRPr sz="2200">
                <a:solidFill>
                  <a:schemeClr val="accent1"/>
                </a:solidFill>
                <a:latin typeface="+mj-lt"/>
              </a:defRPr>
            </a:lvl1pPr>
            <a:lvl2pPr marL="404813" indent="0">
              <a:tabLst/>
              <a:defRPr sz="1500" b="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headline</a:t>
            </a:r>
          </a:p>
          <a:p>
            <a:pPr lvl="1"/>
            <a:r>
              <a:rPr lang="en-US"/>
              <a:t>Second level 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1751013"/>
            <a:ext cx="4032000" cy="2052000"/>
          </a:xfrm>
          <a:solidFill>
            <a:srgbClr val="F1F0F0"/>
          </a:solidFill>
        </p:spPr>
        <p:txBody>
          <a:bodyPr lIns="180000" tIns="144000" rIns="180000"/>
          <a:lstStyle>
            <a:lvl1pPr marL="9525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2200">
                <a:solidFill>
                  <a:schemeClr val="accent1"/>
                </a:solidFill>
                <a:latin typeface="+mj-lt"/>
              </a:defRPr>
            </a:lvl1pPr>
            <a:lvl2pPr>
              <a:defRPr sz="1500" b="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headline</a:t>
            </a:r>
          </a:p>
          <a:p>
            <a:pPr marL="0" marR="0" lvl="1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 </a:t>
            </a:r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8F82BE91-3964-48C2-83EF-465E652174F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80000" y="3839012"/>
            <a:ext cx="40320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818D9F9-B19D-404D-B7D5-E84E8580B6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000" y="3839012"/>
            <a:ext cx="4032000" cy="2052000"/>
          </a:xfrm>
          <a:solidFill>
            <a:srgbClr val="F1F0F0"/>
          </a:solidFill>
        </p:spPr>
        <p:txBody>
          <a:bodyPr lIns="180000" tIns="144000" rIns="396000"/>
          <a:lstStyle>
            <a:lvl1pPr marL="9525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2200">
                <a:solidFill>
                  <a:schemeClr val="accent1"/>
                </a:solidFill>
                <a:latin typeface="+mj-lt"/>
              </a:defRPr>
            </a:lvl1pPr>
            <a:lvl2pPr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headline</a:t>
            </a:r>
          </a:p>
          <a:p>
            <a:pPr marL="0" marR="0" lvl="1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 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B6D6763-5398-4417-B950-FB94B20D3DD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60000" y="1751013"/>
            <a:ext cx="40320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2AB71ABD-9BB8-42CA-B0AC-FA327D68E8C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1751013"/>
            <a:ext cx="40320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6257182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oin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3839013"/>
            <a:ext cx="4039200" cy="2052000"/>
          </a:xfrm>
          <a:solidFill>
            <a:schemeClr val="bg1">
              <a:lumMod val="95000"/>
            </a:schemeClr>
          </a:solidFill>
        </p:spPr>
        <p:txBody>
          <a:bodyPr vert="horz" lIns="180000" tIns="144000" rIns="180000" bIns="0" rtlCol="0">
            <a:noAutofit/>
          </a:bodyPr>
          <a:lstStyle>
            <a:lvl1pPr marL="9525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200" dirty="0">
                <a:solidFill>
                  <a:schemeClr val="accent1"/>
                </a:solidFill>
                <a:latin typeface="+mj-lt"/>
              </a:defRPr>
            </a:lvl1pPr>
            <a:lvl2pPr marL="9525" indent="0">
              <a:tabLst/>
              <a:defRPr lang="en-GB" sz="15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9525" lvl="0">
              <a:tabLst/>
            </a:pPr>
            <a:r>
              <a:rPr lang="en-US"/>
              <a:t>Click to edit point</a:t>
            </a:r>
          </a:p>
          <a:p>
            <a:pPr marL="9525" marR="0" lvl="1" indent="-376238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</a:t>
            </a:r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8F82BE91-3964-48C2-83EF-465E652174F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80000" y="1751011"/>
            <a:ext cx="40392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B6D6763-5398-4417-B950-FB94B20D3DD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60000" y="3839013"/>
            <a:ext cx="40392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2AB71ABD-9BB8-42CA-B0AC-FA327D68E8C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3839013"/>
            <a:ext cx="40392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48D3433-5954-4B67-BE48-13721B2CB4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0000" y="1751011"/>
            <a:ext cx="4039200" cy="2052000"/>
          </a:xfrm>
          <a:solidFill>
            <a:schemeClr val="bg1">
              <a:lumMod val="95000"/>
            </a:schemeClr>
          </a:solidFill>
        </p:spPr>
        <p:txBody>
          <a:bodyPr vert="horz" lIns="180000" tIns="144000" rIns="396000" bIns="0" rtlCol="0">
            <a:noAutofit/>
          </a:bodyPr>
          <a:lstStyle>
            <a:lvl1pPr marL="0" indent="0">
              <a:defRPr lang="en-US" sz="2200" dirty="0" smtClean="0">
                <a:solidFill>
                  <a:schemeClr val="accent1"/>
                </a:solidFill>
                <a:latin typeface="+mj-lt"/>
              </a:defRPr>
            </a:lvl1pPr>
            <a:lvl2pPr marL="9525" indent="-376238">
              <a:tabLst/>
              <a:defRPr lang="en-GB" sz="15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9525" marR="0" lvl="0" fontAlgn="auto">
              <a:buClrTx/>
              <a:buSzTx/>
              <a:tabLst/>
            </a:pPr>
            <a:r>
              <a:rPr lang="en-US"/>
              <a:t>Click to edit point</a:t>
            </a:r>
          </a:p>
          <a:p>
            <a:pPr marL="9525" marR="0" lvl="1" indent="-376238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A05CB92-10AB-D044-AD85-A1F0404A69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751011"/>
            <a:ext cx="4039200" cy="2052000"/>
          </a:xfrm>
          <a:solidFill>
            <a:schemeClr val="bg1">
              <a:lumMod val="95000"/>
            </a:schemeClr>
          </a:solidFill>
        </p:spPr>
        <p:txBody>
          <a:bodyPr vert="horz" lIns="396000" tIns="144000" rIns="180000" bIns="0" rtlCol="0">
            <a:noAutofit/>
          </a:bodyPr>
          <a:lstStyle>
            <a:lvl1pPr marL="9525" indent="0">
              <a:tabLst/>
              <a:defRPr lang="en-US" sz="2200" dirty="0" smtClean="0">
                <a:solidFill>
                  <a:schemeClr val="accent1"/>
                </a:solidFill>
                <a:latin typeface="+mj-lt"/>
              </a:defRPr>
            </a:lvl1pPr>
            <a:lvl2pPr marL="9525" indent="-376238">
              <a:tabLst/>
              <a:defRPr lang="en-GB" sz="15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9525" marR="0" lvl="0" fontAlgn="auto">
              <a:buClrTx/>
              <a:buSzTx/>
              <a:tabLst/>
            </a:pPr>
            <a:r>
              <a:rPr lang="en-US"/>
              <a:t>Click to edit point</a:t>
            </a:r>
          </a:p>
          <a:p>
            <a:pPr marL="9525" marR="0" lvl="1" indent="-376238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79112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14">
            <a:extLst>
              <a:ext uri="{FF2B5EF4-FFF2-40B4-BE49-F238E27FC236}">
                <a16:creationId xmlns:a16="http://schemas.microsoft.com/office/drawing/2014/main" id="{4786B320-D8D1-4625-B36D-D278080C9418}"/>
              </a:ext>
            </a:extLst>
          </p:cNvPr>
          <p:cNvSpPr>
            <a:spLocks noGrp="1"/>
          </p:cNvSpPr>
          <p:nvPr>
            <p:ph type="chart" sz="quarter" idx="26" hasCustomPrompt="1"/>
          </p:nvPr>
        </p:nvSpPr>
        <p:spPr>
          <a:xfrm>
            <a:off x="624249" y="2191846"/>
            <a:ext cx="2250000" cy="370254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</a:t>
            </a:r>
            <a:br>
              <a:rPr lang="en-GB"/>
            </a:br>
            <a:r>
              <a:rPr lang="en-GB"/>
              <a:t>add chart</a:t>
            </a:r>
          </a:p>
        </p:txBody>
      </p:sp>
      <p:sp>
        <p:nvSpPr>
          <p:cNvPr id="16" name="Chart Placeholder 14">
            <a:extLst>
              <a:ext uri="{FF2B5EF4-FFF2-40B4-BE49-F238E27FC236}">
                <a16:creationId xmlns:a16="http://schemas.microsoft.com/office/drawing/2014/main" id="{298A8A07-8B59-44A7-89B3-A90E91280849}"/>
              </a:ext>
            </a:extLst>
          </p:cNvPr>
          <p:cNvSpPr>
            <a:spLocks noGrp="1"/>
          </p:cNvSpPr>
          <p:nvPr>
            <p:ph type="chart" sz="quarter" idx="27" hasCustomPrompt="1"/>
          </p:nvPr>
        </p:nvSpPr>
        <p:spPr>
          <a:xfrm>
            <a:off x="3522083" y="2190141"/>
            <a:ext cx="2250000" cy="370424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</a:t>
            </a:r>
            <a:br>
              <a:rPr lang="en-GB"/>
            </a:br>
            <a:r>
              <a:rPr lang="en-GB"/>
              <a:t>add chart</a:t>
            </a:r>
          </a:p>
        </p:txBody>
      </p:sp>
      <p:sp>
        <p:nvSpPr>
          <p:cNvPr id="17" name="Chart Placeholder 14">
            <a:extLst>
              <a:ext uri="{FF2B5EF4-FFF2-40B4-BE49-F238E27FC236}">
                <a16:creationId xmlns:a16="http://schemas.microsoft.com/office/drawing/2014/main" id="{7BF9ADD6-7635-4719-9294-2C7CB88A7AE7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6419917" y="2190141"/>
            <a:ext cx="2250000" cy="370424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</a:t>
            </a:r>
            <a:br>
              <a:rPr lang="en-GB"/>
            </a:br>
            <a:r>
              <a:rPr lang="en-GB"/>
              <a:t>add chart</a:t>
            </a:r>
          </a:p>
        </p:txBody>
      </p:sp>
      <p:sp>
        <p:nvSpPr>
          <p:cNvPr id="18" name="Chart Placeholder 14">
            <a:extLst>
              <a:ext uri="{FF2B5EF4-FFF2-40B4-BE49-F238E27FC236}">
                <a16:creationId xmlns:a16="http://schemas.microsoft.com/office/drawing/2014/main" id="{72CB465C-BA08-42D2-9D14-458C047620A0}"/>
              </a:ext>
            </a:extLst>
          </p:cNvPr>
          <p:cNvSpPr>
            <a:spLocks noGrp="1"/>
          </p:cNvSpPr>
          <p:nvPr>
            <p:ph type="chart" sz="quarter" idx="29" hasCustomPrompt="1"/>
          </p:nvPr>
        </p:nvSpPr>
        <p:spPr>
          <a:xfrm>
            <a:off x="9317751" y="2190142"/>
            <a:ext cx="2250000" cy="370424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</a:t>
            </a:r>
            <a:br>
              <a:rPr lang="en-GB"/>
            </a:br>
            <a:r>
              <a:rPr lang="en-GB"/>
              <a:t>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DEC67-67C4-4FAA-BCB6-6798DF2BD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04AC1-E4E2-4D9D-A2CB-493C0AF7AC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CDA7445-07F2-4CAC-A94F-72D4495ABC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8808572-41FF-DE4B-972D-5481B04684BA}"/>
              </a:ext>
            </a:extLst>
          </p:cNvPr>
          <p:cNvGrpSpPr/>
          <p:nvPr userDrawn="1"/>
        </p:nvGrpSpPr>
        <p:grpSpPr>
          <a:xfrm>
            <a:off x="3198166" y="1799999"/>
            <a:ext cx="5795668" cy="4094387"/>
            <a:chOff x="3198166" y="1800000"/>
            <a:chExt cx="5795668" cy="3870000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E751FE3-4D06-4123-B809-8230CB03938F}"/>
                </a:ext>
              </a:extLst>
            </p:cNvPr>
            <p:cNvCxnSpPr/>
            <p:nvPr userDrawn="1"/>
          </p:nvCxnSpPr>
          <p:spPr>
            <a:xfrm>
              <a:off x="3198166" y="1800000"/>
              <a:ext cx="0" cy="3870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C116C3B-948F-450B-B770-E7B633E3DAED}"/>
                </a:ext>
              </a:extLst>
            </p:cNvPr>
            <p:cNvCxnSpPr/>
            <p:nvPr userDrawn="1"/>
          </p:nvCxnSpPr>
          <p:spPr>
            <a:xfrm>
              <a:off x="6096000" y="1800000"/>
              <a:ext cx="0" cy="3870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DCE454C4-45C0-4B1F-B312-F940122CB6CB}"/>
                </a:ext>
              </a:extLst>
            </p:cNvPr>
            <p:cNvCxnSpPr/>
            <p:nvPr userDrawn="1"/>
          </p:nvCxnSpPr>
          <p:spPr>
            <a:xfrm>
              <a:off x="8993834" y="1800000"/>
              <a:ext cx="0" cy="387000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9562D8D6-B317-C44A-9FBC-67A50E8503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7" y="1776345"/>
            <a:ext cx="2714625" cy="21150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AB88EDB-048B-6449-BCB3-CBDB824AE9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03424" y="1776345"/>
            <a:ext cx="2714625" cy="21150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A1B32C2-AB03-2D45-95A5-944B4C0B18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211562" y="1776345"/>
            <a:ext cx="2714625" cy="21150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9A16684-A40E-5D4C-94E2-1CCC776BCB9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85438" y="1776345"/>
            <a:ext cx="2714625" cy="21150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9357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58A6A2E-4DA8-194F-AF69-32C04E2B8F5D}"/>
              </a:ext>
            </a:extLst>
          </p:cNvPr>
          <p:cNvSpPr/>
          <p:nvPr userDrawn="1"/>
        </p:nvSpPr>
        <p:spPr>
          <a:xfrm>
            <a:off x="0" y="0"/>
            <a:ext cx="12192000" cy="5896800"/>
          </a:xfrm>
          <a:prstGeom prst="rect">
            <a:avLst/>
          </a:prstGeom>
          <a:solidFill>
            <a:srgbClr val="F2F0F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CF6798E1-770E-E24A-B91F-043C784E8887}"/>
              </a:ext>
            </a:extLst>
          </p:cNvPr>
          <p:cNvSpPr/>
          <p:nvPr userDrawn="1"/>
        </p:nvSpPr>
        <p:spPr>
          <a:xfrm rot="5400000">
            <a:off x="5700000" y="-12000"/>
            <a:ext cx="6480000" cy="6504000"/>
          </a:xfrm>
          <a:custGeom>
            <a:avLst/>
            <a:gdLst>
              <a:gd name="connsiteX0" fmla="*/ 0 w 6480000"/>
              <a:gd name="connsiteY0" fmla="*/ 4339731 h 6504000"/>
              <a:gd name="connsiteX1" fmla="*/ 0 w 6480000"/>
              <a:gd name="connsiteY1" fmla="*/ 1972269 h 6504000"/>
              <a:gd name="connsiteX2" fmla="*/ 47102 w 6480000"/>
              <a:gd name="connsiteY2" fmla="*/ 1852807 h 6504000"/>
              <a:gd name="connsiteX3" fmla="*/ 1980845 w 6480000"/>
              <a:gd name="connsiteY3" fmla="*/ 11156 h 6504000"/>
              <a:gd name="connsiteX4" fmla="*/ 2013815 w 6480000"/>
              <a:gd name="connsiteY4" fmla="*/ 0 h 6504000"/>
              <a:gd name="connsiteX5" fmla="*/ 4250185 w 6480000"/>
              <a:gd name="connsiteY5" fmla="*/ 0 h 6504000"/>
              <a:gd name="connsiteX6" fmla="*/ 4283155 w 6480000"/>
              <a:gd name="connsiteY6" fmla="*/ 11156 h 6504000"/>
              <a:gd name="connsiteX7" fmla="*/ 6480000 w 6480000"/>
              <a:gd name="connsiteY7" fmla="*/ 3156000 h 6504000"/>
              <a:gd name="connsiteX8" fmla="*/ 3132000 w 6480000"/>
              <a:gd name="connsiteY8" fmla="*/ 6504000 h 6504000"/>
              <a:gd name="connsiteX9" fmla="*/ 47102 w 6480000"/>
              <a:gd name="connsiteY9" fmla="*/ 4459193 h 6504000"/>
              <a:gd name="connsiteX10" fmla="*/ 0 w 6480000"/>
              <a:gd name="connsiteY10" fmla="*/ 4339731 h 6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80000" h="6504000">
                <a:moveTo>
                  <a:pt x="0" y="4339731"/>
                </a:moveTo>
                <a:lnTo>
                  <a:pt x="0" y="1972269"/>
                </a:lnTo>
                <a:lnTo>
                  <a:pt x="47102" y="1852807"/>
                </a:lnTo>
                <a:cubicBezTo>
                  <a:pt x="407116" y="1001640"/>
                  <a:pt x="1109114" y="330340"/>
                  <a:pt x="1980845" y="11156"/>
                </a:cubicBezTo>
                <a:lnTo>
                  <a:pt x="2013815" y="0"/>
                </a:lnTo>
                <a:lnTo>
                  <a:pt x="4250185" y="0"/>
                </a:lnTo>
                <a:lnTo>
                  <a:pt x="4283155" y="11156"/>
                </a:lnTo>
                <a:cubicBezTo>
                  <a:pt x="5565113" y="480544"/>
                  <a:pt x="6480000" y="1711430"/>
                  <a:pt x="6480000" y="3156000"/>
                </a:cubicBezTo>
                <a:cubicBezTo>
                  <a:pt x="6480000" y="5005049"/>
                  <a:pt x="4981049" y="6504000"/>
                  <a:pt x="3132000" y="6504000"/>
                </a:cubicBezTo>
                <a:cubicBezTo>
                  <a:pt x="1745213" y="6504000"/>
                  <a:pt x="555357" y="5660840"/>
                  <a:pt x="47102" y="4459193"/>
                </a:cubicBezTo>
                <a:lnTo>
                  <a:pt x="0" y="43397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4C6D32F-807C-4EE5-B0E3-AB5DC671173C}"/>
              </a:ext>
            </a:extLst>
          </p:cNvPr>
          <p:cNvSpPr>
            <a:spLocks noChangeAspect="1"/>
          </p:cNvSpPr>
          <p:nvPr userDrawn="1"/>
        </p:nvSpPr>
        <p:spPr>
          <a:xfrm>
            <a:off x="900000" y="1728000"/>
            <a:ext cx="3960000" cy="396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DEC67-67C4-4FAA-BCB6-6798DF2BD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9" y="342000"/>
            <a:ext cx="5789612" cy="657799"/>
          </a:xfrm>
        </p:spPr>
        <p:txBody>
          <a:bodyPr/>
          <a:lstStyle/>
          <a:p>
            <a:r>
              <a:rPr lang="en-GB"/>
              <a:t>Click to edit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04AC1-E4E2-4D9D-A2CB-493C0AF7AC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CDA7445-07F2-4CAC-A94F-72D4495ABC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1EE6C78-6C9D-46F5-BED7-5118ED2EC447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396000" y="1980000"/>
            <a:ext cx="1259843" cy="126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Option for data point</a:t>
            </a:r>
            <a:endParaRPr lang="en-GB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B3B1842-3BCD-40A7-B137-7C45F402698F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5209520" y="1980000"/>
            <a:ext cx="1259843" cy="126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Option for data point</a:t>
            </a:r>
            <a:endParaRPr lang="en-GB"/>
          </a:p>
        </p:txBody>
      </p:sp>
      <p:sp>
        <p:nvSpPr>
          <p:cNvPr id="15" name="Chart Placeholder 14">
            <a:extLst>
              <a:ext uri="{FF2B5EF4-FFF2-40B4-BE49-F238E27FC236}">
                <a16:creationId xmlns:a16="http://schemas.microsoft.com/office/drawing/2014/main" id="{4786B320-D8D1-4625-B36D-D278080C9418}"/>
              </a:ext>
            </a:extLst>
          </p:cNvPr>
          <p:cNvSpPr>
            <a:spLocks noGrp="1"/>
          </p:cNvSpPr>
          <p:nvPr>
            <p:ph type="chart" sz="quarter" idx="26" hasCustomPrompt="1"/>
          </p:nvPr>
        </p:nvSpPr>
        <p:spPr>
          <a:xfrm>
            <a:off x="1761206" y="2285998"/>
            <a:ext cx="2237588" cy="3042001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GB"/>
              <a:t>Click to </a:t>
            </a:r>
          </a:p>
          <a:p>
            <a:r>
              <a:rPr lang="en-GB"/>
              <a:t>insert chart</a:t>
            </a:r>
          </a:p>
        </p:txBody>
      </p:sp>
      <p:sp>
        <p:nvSpPr>
          <p:cNvPr id="30" name="Chart Placeholder 14">
            <a:extLst>
              <a:ext uri="{FF2B5EF4-FFF2-40B4-BE49-F238E27FC236}">
                <a16:creationId xmlns:a16="http://schemas.microsoft.com/office/drawing/2014/main" id="{AF63756D-15EA-4FB3-B8F3-9476CD3B1EB3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6785301" y="972000"/>
            <a:ext cx="4501398" cy="4320000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GB"/>
              <a:t>Click to </a:t>
            </a:r>
          </a:p>
          <a:p>
            <a:r>
              <a:rPr lang="en-GB"/>
              <a:t>insert char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E45C7E-AE38-3748-9D2C-54F3A5AB388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785301" y="591688"/>
            <a:ext cx="4501398" cy="21149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6DD7B3CC-6F8F-C147-8553-8B7429B8F49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61206" y="2075618"/>
            <a:ext cx="2237588" cy="210381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24203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(Circle)">
    <p:bg>
      <p:bgPr>
        <a:solidFill>
          <a:srgbClr val="F1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0164417-A289-284B-B77C-D183018DC5F3}"/>
              </a:ext>
            </a:extLst>
          </p:cNvPr>
          <p:cNvSpPr/>
          <p:nvPr userDrawn="1"/>
        </p:nvSpPr>
        <p:spPr>
          <a:xfrm rot="5400000">
            <a:off x="5700000" y="-12000"/>
            <a:ext cx="6480000" cy="6504000"/>
          </a:xfrm>
          <a:custGeom>
            <a:avLst/>
            <a:gdLst>
              <a:gd name="connsiteX0" fmla="*/ 0 w 6480000"/>
              <a:gd name="connsiteY0" fmla="*/ 4339731 h 6504000"/>
              <a:gd name="connsiteX1" fmla="*/ 0 w 6480000"/>
              <a:gd name="connsiteY1" fmla="*/ 1972269 h 6504000"/>
              <a:gd name="connsiteX2" fmla="*/ 47102 w 6480000"/>
              <a:gd name="connsiteY2" fmla="*/ 1852807 h 6504000"/>
              <a:gd name="connsiteX3" fmla="*/ 1980845 w 6480000"/>
              <a:gd name="connsiteY3" fmla="*/ 11156 h 6504000"/>
              <a:gd name="connsiteX4" fmla="*/ 2013815 w 6480000"/>
              <a:gd name="connsiteY4" fmla="*/ 0 h 6504000"/>
              <a:gd name="connsiteX5" fmla="*/ 4250185 w 6480000"/>
              <a:gd name="connsiteY5" fmla="*/ 0 h 6504000"/>
              <a:gd name="connsiteX6" fmla="*/ 4283155 w 6480000"/>
              <a:gd name="connsiteY6" fmla="*/ 11156 h 6504000"/>
              <a:gd name="connsiteX7" fmla="*/ 6480000 w 6480000"/>
              <a:gd name="connsiteY7" fmla="*/ 3156000 h 6504000"/>
              <a:gd name="connsiteX8" fmla="*/ 3132000 w 6480000"/>
              <a:gd name="connsiteY8" fmla="*/ 6504000 h 6504000"/>
              <a:gd name="connsiteX9" fmla="*/ 47102 w 6480000"/>
              <a:gd name="connsiteY9" fmla="*/ 4459193 h 6504000"/>
              <a:gd name="connsiteX10" fmla="*/ 0 w 6480000"/>
              <a:gd name="connsiteY10" fmla="*/ 4339731 h 6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80000" h="6504000">
                <a:moveTo>
                  <a:pt x="0" y="4339731"/>
                </a:moveTo>
                <a:lnTo>
                  <a:pt x="0" y="1972269"/>
                </a:lnTo>
                <a:lnTo>
                  <a:pt x="47102" y="1852807"/>
                </a:lnTo>
                <a:cubicBezTo>
                  <a:pt x="407116" y="1001640"/>
                  <a:pt x="1109114" y="330340"/>
                  <a:pt x="1980845" y="11156"/>
                </a:cubicBezTo>
                <a:lnTo>
                  <a:pt x="2013815" y="0"/>
                </a:lnTo>
                <a:lnTo>
                  <a:pt x="4250185" y="0"/>
                </a:lnTo>
                <a:lnTo>
                  <a:pt x="4283155" y="11156"/>
                </a:lnTo>
                <a:cubicBezTo>
                  <a:pt x="5565113" y="480544"/>
                  <a:pt x="6480000" y="1711430"/>
                  <a:pt x="6480000" y="3156000"/>
                </a:cubicBezTo>
                <a:cubicBezTo>
                  <a:pt x="6480000" y="5005049"/>
                  <a:pt x="4981049" y="6504000"/>
                  <a:pt x="3132000" y="6504000"/>
                </a:cubicBezTo>
                <a:cubicBezTo>
                  <a:pt x="1745213" y="6504000"/>
                  <a:pt x="555357" y="5660840"/>
                  <a:pt x="47102" y="4459193"/>
                </a:cubicBezTo>
                <a:lnTo>
                  <a:pt x="0" y="43397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7DEC67-67C4-4FAA-BCB6-6798DF2BD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9" y="342000"/>
            <a:ext cx="5789612" cy="657799"/>
          </a:xfrm>
        </p:spPr>
        <p:txBody>
          <a:bodyPr/>
          <a:lstStyle/>
          <a:p>
            <a:r>
              <a:rPr lang="en-GB"/>
              <a:t>Click to edit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04AC1-E4E2-4D9D-A2CB-493C0AF7AC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CDA7445-07F2-4CAC-A94F-72D4495ABC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6B3B1842-3BCD-40A7-B137-7C45F402698F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5209520" y="1980000"/>
            <a:ext cx="1259843" cy="126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Option for data point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40A6D77-D6D6-43DA-98FE-F6F4EBFAE51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5288" y="1761173"/>
            <a:ext cx="4632325" cy="41457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hart Placeholder 14">
            <a:extLst>
              <a:ext uri="{FF2B5EF4-FFF2-40B4-BE49-F238E27FC236}">
                <a16:creationId xmlns:a16="http://schemas.microsoft.com/office/drawing/2014/main" id="{655ADAD1-DB65-3B48-8D28-F238577FE89C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6785301" y="972000"/>
            <a:ext cx="4501398" cy="4320000"/>
          </a:xfrm>
        </p:spPr>
        <p:txBody>
          <a:bodyPr anchor="ctr"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GB"/>
              <a:t>Click to </a:t>
            </a:r>
          </a:p>
          <a:p>
            <a:r>
              <a:rPr lang="en-GB"/>
              <a:t>insert char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1AE4268-0935-6B49-A232-465D9E3532D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785301" y="591688"/>
            <a:ext cx="4501398" cy="211495"/>
          </a:xfrm>
        </p:spPr>
        <p:txBody>
          <a:bodyPr/>
          <a:lstStyle>
            <a:lvl1pPr algn="ctr">
              <a:defRPr sz="15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char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18202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7DEC67-67C4-4FAA-BCB6-6798DF2BD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04AC1-E4E2-4D9D-A2CB-493C0AF7AC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2CDA7445-07F2-4CAC-A94F-72D4495ABC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11" name="Chart Placeholder 14">
            <a:extLst>
              <a:ext uri="{FF2B5EF4-FFF2-40B4-BE49-F238E27FC236}">
                <a16:creationId xmlns:a16="http://schemas.microsoft.com/office/drawing/2014/main" id="{650689CC-0F86-4845-BA95-3DCB5EBB19ED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6184900" y="1620000"/>
            <a:ext cx="5610225" cy="4274388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GB"/>
              <a:t>Click to insert char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DEF20-E7A9-45CE-8D70-718CCDB18D8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95288" y="1761173"/>
            <a:ext cx="4645025" cy="4143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38209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C552D29-2031-4778-8D5C-91570D211BF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5897563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Select the icon to insert an image.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/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/>
          </a:p>
          <a:p>
            <a:r>
              <a:rPr lang="en-GB"/>
              <a:t>Visit </a:t>
            </a:r>
            <a:r>
              <a:rPr lang="en-GB" err="1"/>
              <a:t>www.ourtesco.com</a:t>
            </a:r>
            <a:r>
              <a:rPr lang="en-GB"/>
              <a:t>/</a:t>
            </a:r>
            <a:r>
              <a:rPr lang="en-GB" err="1"/>
              <a:t>bams</a:t>
            </a:r>
            <a:r>
              <a:rPr lang="en-GB"/>
              <a:t> for more cover image options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70A1494-7ABD-4AFA-BA22-E956D61DDC99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289" y="656409"/>
            <a:ext cx="6948486" cy="201734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6600" spc="-3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4526FD41-E817-DE42-BB93-ADDB4D33D1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062" y="5355772"/>
            <a:ext cx="5610451" cy="418012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200" b="0" kern="1200" dirty="0">
                <a:solidFill>
                  <a:schemeClr val="bg1"/>
                </a:solidFill>
                <a:effectLst/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96889"/>
            <a:ext cx="6948486" cy="78631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GB"/>
              <a:t>Click to add presenter’s name, title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C7F365-5B84-4B5A-BA21-A2E4C0955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5062" y="343671"/>
            <a:ext cx="4451350" cy="1489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FF62C41-B0A9-2546-8FF2-36ED46E451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406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1778001"/>
            <a:ext cx="2606675" cy="442686"/>
          </a:xfrm>
        </p:spPr>
        <p:txBody>
          <a:bodyPr/>
          <a:lstStyle>
            <a:lvl1pPr>
              <a:defRPr sz="2400" b="1">
                <a:solidFill>
                  <a:schemeClr val="accent1"/>
                </a:solidFill>
              </a:defRPr>
            </a:lvl1pPr>
            <a:lvl2pPr>
              <a:defRPr sz="2400"/>
            </a:lvl2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36588" y="3120573"/>
            <a:ext cx="2606675" cy="442686"/>
          </a:xfrm>
        </p:spPr>
        <p:txBody>
          <a:bodyPr/>
          <a:lstStyle>
            <a:lvl1pPr>
              <a:defRPr lang="en-GB" sz="2400" b="1" kern="1200" dirty="0">
                <a:solidFill>
                  <a:schemeClr val="accent1"/>
                </a:solidFill>
                <a:latin typeface="TESCO Modern" panose="02000506030000020004" pitchFamily="2" charset="0"/>
                <a:ea typeface="+mn-ea"/>
                <a:cs typeface="+mn-cs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36588" y="4463145"/>
            <a:ext cx="2606675" cy="442686"/>
          </a:xfrm>
        </p:spPr>
        <p:txBody>
          <a:bodyPr/>
          <a:lstStyle>
            <a:lvl1pPr>
              <a:defRPr lang="en-GB" sz="2400" b="1" kern="1200" dirty="0">
                <a:solidFill>
                  <a:schemeClr val="accent1"/>
                </a:solidFill>
                <a:latin typeface="TESCO Modern" panose="02000506030000020004" pitchFamily="2" charset="0"/>
                <a:ea typeface="+mn-ea"/>
                <a:cs typeface="+mn-cs"/>
              </a:defRPr>
            </a:lvl1pPr>
            <a:lvl2pPr>
              <a:defRPr sz="24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05188" y="1778001"/>
            <a:ext cx="8150225" cy="11538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405188" y="3120573"/>
            <a:ext cx="8150225" cy="11538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05188" y="4463145"/>
            <a:ext cx="8150225" cy="11538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8D6C7B-1E5C-4797-9E19-E065164F8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0499A97-7CCE-4351-86D4-6AEB9F70F1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20719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3" descr="A person wearing a blue hat and holding a bunch of bananas&#10;&#10;Description automatically generated with medium confidence">
            <a:extLst>
              <a:ext uri="{FF2B5EF4-FFF2-40B4-BE49-F238E27FC236}">
                <a16:creationId xmlns:a16="http://schemas.microsoft.com/office/drawing/2014/main" id="{2245E0C1-B0F5-F043-BDDC-7A6122B4B3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-1200" y="-763"/>
            <a:ext cx="12192000" cy="589756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70A1494-7ABD-4AFA-BA22-E956D61DDC99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289" y="656408"/>
            <a:ext cx="6948486" cy="290460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6600" spc="-3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4526FD41-E817-DE42-BB93-ADDB4D33D1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062" y="5355772"/>
            <a:ext cx="5610451" cy="418012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200" b="0" kern="1200" dirty="0">
                <a:solidFill>
                  <a:schemeClr val="bg1"/>
                </a:solidFill>
                <a:effectLst/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96889"/>
            <a:ext cx="6948486" cy="78631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GB"/>
              <a:t>Click to add presenter’s name, title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CDBFF5-04D8-5548-8FDA-C143591F20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162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Info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8F8F267-B3A7-426C-B891-1B3CD5DCA16E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34BDE93-00CA-A749-9B86-6E101CDA6C4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89" y="656408"/>
            <a:ext cx="6948486" cy="290460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6600" spc="-3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5DA1B55-15BF-B04E-971C-3133A8DBC7C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062" y="5355772"/>
            <a:ext cx="5610451" cy="418012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200" b="0" kern="1200" dirty="0">
                <a:solidFill>
                  <a:schemeClr val="bg1"/>
                </a:solidFill>
                <a:effectLst/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746C292-9B55-E445-A539-2D21B0EF8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4496889"/>
            <a:ext cx="6948486" cy="78631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GB"/>
              <a:t>Click to add presenter’s name, title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C207C8-7060-1B47-B914-E0C76DB266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37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3627" y="483327"/>
            <a:ext cx="4106686" cy="257102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5600" spc="-30" baseline="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3627" y="3331029"/>
            <a:ext cx="4106686" cy="50945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accent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GB"/>
              <a:t>Click to add name or dat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EB1CA-D956-564A-BABC-2B31B1CC560B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F34CD-3104-C447-AF4C-AD6B43AF6B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092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3627" y="483327"/>
            <a:ext cx="4106686" cy="257102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5600" spc="-30" baseline="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3627" y="3331029"/>
            <a:ext cx="4106686" cy="50945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accent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GB"/>
              <a:t>Click to add name or dat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EB1CA-D956-564A-BABC-2B31B1CC560B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3A0E4D-0066-B949-8A51-895A1A6712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676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3627" y="483327"/>
            <a:ext cx="4106686" cy="257102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5600" spc="-30" baseline="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here</a:t>
            </a:r>
            <a:br>
              <a:rPr lang="en-US"/>
            </a:br>
            <a:r>
              <a:rPr lang="en-US"/>
              <a:t>to add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3627" y="3331029"/>
            <a:ext cx="4106686" cy="50945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accent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GB"/>
              <a:t>Click to add name or dat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EB1CA-D956-564A-BABC-2B31B1CC560B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E2B8A33-836A-6341-A3C2-651B414545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Templa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33627" y="483327"/>
            <a:ext cx="4106686" cy="257102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8000"/>
              </a:lnSpc>
              <a:defRPr sz="5600" spc="-30" baseline="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Insert background</a:t>
            </a:r>
            <a:br>
              <a:rPr lang="en-US"/>
            </a:br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250293-381B-0C44-A980-D0EA78AFE1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33627" y="3331029"/>
            <a:ext cx="4106686" cy="509451"/>
          </a:xfrm>
        </p:spPr>
        <p:txBody>
          <a:bodyPr anchor="t" anchorCtr="0"/>
          <a:lstStyle>
            <a:lvl1pPr>
              <a:spcAft>
                <a:spcPts val="0"/>
              </a:spcAft>
              <a:defRPr sz="2200" b="0">
                <a:solidFill>
                  <a:schemeClr val="accent1"/>
                </a:solidFill>
                <a:effectLst/>
                <a:latin typeface="+mn-lt"/>
              </a:defRPr>
            </a:lvl1pPr>
          </a:lstStyle>
          <a:p>
            <a:pPr lvl="0"/>
            <a:r>
              <a:rPr lang="en-US"/>
              <a:t>Visit BAMS for image op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A1EB1CA-D956-564A-BABC-2B31B1CC560B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B2AB01-2C0A-C74E-B1C7-F6650C9FA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7FA30CF4-A3A0-7647-B75A-420655B253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12192000" cy="5892419"/>
          </a:xfrm>
          <a:custGeom>
            <a:avLst/>
            <a:gdLst>
              <a:gd name="connsiteX0" fmla="*/ 0 w 12192000"/>
              <a:gd name="connsiteY0" fmla="*/ 0 h 5892419"/>
              <a:gd name="connsiteX1" fmla="*/ 200591 w 12192000"/>
              <a:gd name="connsiteY1" fmla="*/ 0 h 5892419"/>
              <a:gd name="connsiteX2" fmla="*/ 575733 w 12192000"/>
              <a:gd name="connsiteY2" fmla="*/ 0 h 5892419"/>
              <a:gd name="connsiteX3" fmla="*/ 584905 w 12192000"/>
              <a:gd name="connsiteY3" fmla="*/ 0 h 5892419"/>
              <a:gd name="connsiteX4" fmla="*/ 584905 w 12192000"/>
              <a:gd name="connsiteY4" fmla="*/ 4055533 h 5892419"/>
              <a:gd name="connsiteX5" fmla="*/ 5410200 w 12192000"/>
              <a:gd name="connsiteY5" fmla="*/ 4055533 h 5892419"/>
              <a:gd name="connsiteX6" fmla="*/ 5410200 w 12192000"/>
              <a:gd name="connsiteY6" fmla="*/ 4044951 h 5892419"/>
              <a:gd name="connsiteX7" fmla="*/ 5416550 w 12192000"/>
              <a:gd name="connsiteY7" fmla="*/ 4044951 h 5892419"/>
              <a:gd name="connsiteX8" fmla="*/ 5416550 w 12192000"/>
              <a:gd name="connsiteY8" fmla="*/ 3048 h 5892419"/>
              <a:gd name="connsiteX9" fmla="*/ 5410200 w 12192000"/>
              <a:gd name="connsiteY9" fmla="*/ 3048 h 5892419"/>
              <a:gd name="connsiteX10" fmla="*/ 5410200 w 12192000"/>
              <a:gd name="connsiteY10" fmla="*/ 0 h 5892419"/>
              <a:gd name="connsiteX11" fmla="*/ 12192000 w 12192000"/>
              <a:gd name="connsiteY11" fmla="*/ 0 h 5892419"/>
              <a:gd name="connsiteX12" fmla="*/ 12192000 w 12192000"/>
              <a:gd name="connsiteY12" fmla="*/ 5892419 h 5892419"/>
              <a:gd name="connsiteX13" fmla="*/ 0 w 12192000"/>
              <a:gd name="connsiteY13" fmla="*/ 5892419 h 5892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5892419">
                <a:moveTo>
                  <a:pt x="0" y="0"/>
                </a:moveTo>
                <a:lnTo>
                  <a:pt x="200591" y="0"/>
                </a:lnTo>
                <a:lnTo>
                  <a:pt x="575733" y="0"/>
                </a:lnTo>
                <a:lnTo>
                  <a:pt x="584905" y="0"/>
                </a:lnTo>
                <a:lnTo>
                  <a:pt x="584905" y="4055533"/>
                </a:lnTo>
                <a:lnTo>
                  <a:pt x="5410200" y="4055533"/>
                </a:lnTo>
                <a:lnTo>
                  <a:pt x="5410200" y="4044951"/>
                </a:lnTo>
                <a:lnTo>
                  <a:pt x="5416550" y="4044951"/>
                </a:lnTo>
                <a:lnTo>
                  <a:pt x="5416550" y="3048"/>
                </a:lnTo>
                <a:lnTo>
                  <a:pt x="5410200" y="3048"/>
                </a:lnTo>
                <a:lnTo>
                  <a:pt x="5410200" y="0"/>
                </a:lnTo>
                <a:lnTo>
                  <a:pt x="12192000" y="0"/>
                </a:lnTo>
                <a:lnTo>
                  <a:pt x="12192000" y="5892419"/>
                </a:lnTo>
                <a:lnTo>
                  <a:pt x="0" y="589241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rIns="1872000" anchor="ctr">
            <a:noAutofit/>
          </a:bodyPr>
          <a:lstStyle>
            <a:lvl1pPr marL="0" indent="0" algn="r">
              <a:tabLst>
                <a:tab pos="2438400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0337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Large 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9AC704D-7965-4A14-AFB7-84C795D77B4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5288" y="1789714"/>
            <a:ext cx="5610225" cy="417359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lnSpc>
                <a:spcPct val="75000"/>
              </a:lnSpc>
              <a:defRPr sz="8800" b="0" spc="-3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0223A13-E3D5-D74A-A941-461B7DFEDB6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5562000" y="0"/>
            <a:ext cx="6630000" cy="5623200"/>
          </a:xfrm>
          <a:custGeom>
            <a:avLst/>
            <a:gdLst>
              <a:gd name="connsiteX0" fmla="*/ 218232 w 6630000"/>
              <a:gd name="connsiteY0" fmla="*/ 0 h 5623200"/>
              <a:gd name="connsiteX1" fmla="*/ 6630000 w 6630000"/>
              <a:gd name="connsiteY1" fmla="*/ 0 h 5623200"/>
              <a:gd name="connsiteX2" fmla="*/ 6630000 w 6630000"/>
              <a:gd name="connsiteY2" fmla="*/ 4915659 h 5623200"/>
              <a:gd name="connsiteX3" fmla="*/ 6491743 w 6630000"/>
              <a:gd name="connsiteY3" fmla="*/ 5004294 h 5623200"/>
              <a:gd name="connsiteX4" fmla="*/ 4275000 w 6630000"/>
              <a:gd name="connsiteY4" fmla="*/ 5623200 h 5623200"/>
              <a:gd name="connsiteX5" fmla="*/ 0 w 6630000"/>
              <a:gd name="connsiteY5" fmla="*/ 1348200 h 5623200"/>
              <a:gd name="connsiteX6" fmla="*/ 192196 w 6630000"/>
              <a:gd name="connsiteY6" fmla="*/ 76946 h 562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30000" h="5623200">
                <a:moveTo>
                  <a:pt x="218232" y="0"/>
                </a:moveTo>
                <a:lnTo>
                  <a:pt x="6630000" y="0"/>
                </a:lnTo>
                <a:lnTo>
                  <a:pt x="6630000" y="4915659"/>
                </a:lnTo>
                <a:lnTo>
                  <a:pt x="6491743" y="5004294"/>
                </a:lnTo>
                <a:cubicBezTo>
                  <a:pt x="5845376" y="5397036"/>
                  <a:pt x="5086600" y="5623200"/>
                  <a:pt x="4275000" y="5623200"/>
                </a:cubicBezTo>
                <a:cubicBezTo>
                  <a:pt x="1913983" y="5623200"/>
                  <a:pt x="0" y="3709217"/>
                  <a:pt x="0" y="1348200"/>
                </a:cubicBezTo>
                <a:cubicBezTo>
                  <a:pt x="0" y="905510"/>
                  <a:pt x="67289" y="478535"/>
                  <a:pt x="192196" y="76946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01BCFA-203A-6642-9409-C48AA8112C78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0290F2-B59C-4147-985B-281D991237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635C7670-8B15-1948-8BF4-8FC81A0A1F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062" y="395288"/>
            <a:ext cx="5610451" cy="418012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200" b="0" kern="1200" dirty="0">
                <a:solidFill>
                  <a:schemeClr val="tx1"/>
                </a:solidFill>
                <a:effectLst/>
                <a:latin typeface="TESCO Modern" panose="02000506030000020004" pitchFamily="2" charset="0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294420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Quot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edia Placeholder 14">
            <a:extLst>
              <a:ext uri="{FF2B5EF4-FFF2-40B4-BE49-F238E27FC236}">
                <a16:creationId xmlns:a16="http://schemas.microsoft.com/office/drawing/2014/main" id="{9B29E03F-646A-45B2-8848-64C25CF52CE1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black">
          <a:xfrm>
            <a:off x="3293398" y="2996911"/>
            <a:ext cx="2712115" cy="3044420"/>
          </a:xfrm>
          <a:custGeom>
            <a:avLst/>
            <a:gdLst>
              <a:gd name="connsiteX0" fmla="*/ 0 w 2744787"/>
              <a:gd name="connsiteY0" fmla="*/ 0 h 3044420"/>
              <a:gd name="connsiteX1" fmla="*/ 2744787 w 2744787"/>
              <a:gd name="connsiteY1" fmla="*/ 0 h 3044420"/>
              <a:gd name="connsiteX2" fmla="*/ 2744787 w 2744787"/>
              <a:gd name="connsiteY2" fmla="*/ 2736850 h 3044420"/>
              <a:gd name="connsiteX3" fmla="*/ 2533247 w 2744787"/>
              <a:gd name="connsiteY3" fmla="*/ 2736850 h 3044420"/>
              <a:gd name="connsiteX4" fmla="*/ 2225676 w 2744787"/>
              <a:gd name="connsiteY4" fmla="*/ 3044420 h 3044420"/>
              <a:gd name="connsiteX5" fmla="*/ 1918107 w 2744787"/>
              <a:gd name="connsiteY5" fmla="*/ 2736850 h 3044420"/>
              <a:gd name="connsiteX6" fmla="*/ 0 w 2744787"/>
              <a:gd name="connsiteY6" fmla="*/ 2736850 h 3044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4787" h="3044420">
                <a:moveTo>
                  <a:pt x="0" y="0"/>
                </a:moveTo>
                <a:lnTo>
                  <a:pt x="2744787" y="0"/>
                </a:lnTo>
                <a:lnTo>
                  <a:pt x="2744787" y="2736850"/>
                </a:lnTo>
                <a:lnTo>
                  <a:pt x="2533247" y="2736850"/>
                </a:lnTo>
                <a:lnTo>
                  <a:pt x="2225676" y="3044420"/>
                </a:lnTo>
                <a:lnTo>
                  <a:pt x="1918107" y="2736850"/>
                </a:lnTo>
                <a:lnTo>
                  <a:pt x="0" y="27368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16" name="Media Placeholder 15">
            <a:extLst>
              <a:ext uri="{FF2B5EF4-FFF2-40B4-BE49-F238E27FC236}">
                <a16:creationId xmlns:a16="http://schemas.microsoft.com/office/drawing/2014/main" id="{212B6994-A614-4152-88EF-23F034FB9457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black">
          <a:xfrm>
            <a:off x="6188998" y="1268228"/>
            <a:ext cx="2706793" cy="3044420"/>
          </a:xfrm>
          <a:custGeom>
            <a:avLst/>
            <a:gdLst>
              <a:gd name="connsiteX0" fmla="*/ 0 w 2744787"/>
              <a:gd name="connsiteY0" fmla="*/ 0 h 3044420"/>
              <a:gd name="connsiteX1" fmla="*/ 2744787 w 2744787"/>
              <a:gd name="connsiteY1" fmla="*/ 0 h 3044420"/>
              <a:gd name="connsiteX2" fmla="*/ 2744787 w 2744787"/>
              <a:gd name="connsiteY2" fmla="*/ 2736850 h 3044420"/>
              <a:gd name="connsiteX3" fmla="*/ 2533247 w 2744787"/>
              <a:gd name="connsiteY3" fmla="*/ 2736850 h 3044420"/>
              <a:gd name="connsiteX4" fmla="*/ 2225676 w 2744787"/>
              <a:gd name="connsiteY4" fmla="*/ 3044420 h 3044420"/>
              <a:gd name="connsiteX5" fmla="*/ 1918107 w 2744787"/>
              <a:gd name="connsiteY5" fmla="*/ 2736850 h 3044420"/>
              <a:gd name="connsiteX6" fmla="*/ 0 w 2744787"/>
              <a:gd name="connsiteY6" fmla="*/ 2736850 h 3044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4787" h="3044420">
                <a:moveTo>
                  <a:pt x="0" y="0"/>
                </a:moveTo>
                <a:lnTo>
                  <a:pt x="2744787" y="0"/>
                </a:lnTo>
                <a:lnTo>
                  <a:pt x="2744787" y="2736850"/>
                </a:lnTo>
                <a:lnTo>
                  <a:pt x="2533247" y="2736850"/>
                </a:lnTo>
                <a:lnTo>
                  <a:pt x="2225676" y="3044420"/>
                </a:lnTo>
                <a:lnTo>
                  <a:pt x="1918107" y="2736850"/>
                </a:lnTo>
                <a:lnTo>
                  <a:pt x="0" y="2736850"/>
                </a:lnTo>
                <a:close/>
              </a:path>
            </a:pathLst>
          </a:custGeom>
          <a:solidFill>
            <a:srgbClr val="F1F0F0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17" name="Media Placeholder 16">
            <a:extLst>
              <a:ext uri="{FF2B5EF4-FFF2-40B4-BE49-F238E27FC236}">
                <a16:creationId xmlns:a16="http://schemas.microsoft.com/office/drawing/2014/main" id="{5201B325-62CC-42FD-A7BE-1C1FC2864B6D}"/>
              </a:ext>
            </a:extLst>
          </p:cNvPr>
          <p:cNvSpPr>
            <a:spLocks noGrp="1"/>
          </p:cNvSpPr>
          <p:nvPr>
            <p:ph type="media" sz="quarter" idx="21"/>
          </p:nvPr>
        </p:nvSpPr>
        <p:spPr bwMode="black">
          <a:xfrm>
            <a:off x="9080500" y="2406849"/>
            <a:ext cx="2703276" cy="3044420"/>
          </a:xfrm>
          <a:custGeom>
            <a:avLst/>
            <a:gdLst>
              <a:gd name="connsiteX0" fmla="*/ 0 w 2744787"/>
              <a:gd name="connsiteY0" fmla="*/ 0 h 3044420"/>
              <a:gd name="connsiteX1" fmla="*/ 2744787 w 2744787"/>
              <a:gd name="connsiteY1" fmla="*/ 0 h 3044420"/>
              <a:gd name="connsiteX2" fmla="*/ 2744787 w 2744787"/>
              <a:gd name="connsiteY2" fmla="*/ 2736850 h 3044420"/>
              <a:gd name="connsiteX3" fmla="*/ 2533247 w 2744787"/>
              <a:gd name="connsiteY3" fmla="*/ 2736850 h 3044420"/>
              <a:gd name="connsiteX4" fmla="*/ 2225676 w 2744787"/>
              <a:gd name="connsiteY4" fmla="*/ 3044420 h 3044420"/>
              <a:gd name="connsiteX5" fmla="*/ 1918107 w 2744787"/>
              <a:gd name="connsiteY5" fmla="*/ 2736850 h 3044420"/>
              <a:gd name="connsiteX6" fmla="*/ 0 w 2744787"/>
              <a:gd name="connsiteY6" fmla="*/ 2736850 h 3044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4787" h="3044420">
                <a:moveTo>
                  <a:pt x="0" y="0"/>
                </a:moveTo>
                <a:lnTo>
                  <a:pt x="2744787" y="0"/>
                </a:lnTo>
                <a:lnTo>
                  <a:pt x="2744787" y="2736850"/>
                </a:lnTo>
                <a:lnTo>
                  <a:pt x="2533247" y="2736850"/>
                </a:lnTo>
                <a:lnTo>
                  <a:pt x="2225676" y="3044420"/>
                </a:lnTo>
                <a:lnTo>
                  <a:pt x="1918107" y="2736850"/>
                </a:lnTo>
                <a:lnTo>
                  <a:pt x="0" y="27368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14" name="Media Placeholder 13">
            <a:extLst>
              <a:ext uri="{FF2B5EF4-FFF2-40B4-BE49-F238E27FC236}">
                <a16:creationId xmlns:a16="http://schemas.microsoft.com/office/drawing/2014/main" id="{37986B13-2570-4179-8050-E2654C127CF8}"/>
              </a:ext>
            </a:extLst>
          </p:cNvPr>
          <p:cNvSpPr>
            <a:spLocks noGrp="1"/>
          </p:cNvSpPr>
          <p:nvPr>
            <p:ph type="media" sz="quarter" idx="18"/>
          </p:nvPr>
        </p:nvSpPr>
        <p:spPr bwMode="black">
          <a:xfrm>
            <a:off x="395288" y="2055813"/>
            <a:ext cx="2714625" cy="3044420"/>
          </a:xfrm>
          <a:custGeom>
            <a:avLst/>
            <a:gdLst>
              <a:gd name="connsiteX0" fmla="*/ 0 w 2744787"/>
              <a:gd name="connsiteY0" fmla="*/ 0 h 3044420"/>
              <a:gd name="connsiteX1" fmla="*/ 2744787 w 2744787"/>
              <a:gd name="connsiteY1" fmla="*/ 0 h 3044420"/>
              <a:gd name="connsiteX2" fmla="*/ 2744787 w 2744787"/>
              <a:gd name="connsiteY2" fmla="*/ 2736850 h 3044420"/>
              <a:gd name="connsiteX3" fmla="*/ 2533247 w 2744787"/>
              <a:gd name="connsiteY3" fmla="*/ 2736850 h 3044420"/>
              <a:gd name="connsiteX4" fmla="*/ 2225676 w 2744787"/>
              <a:gd name="connsiteY4" fmla="*/ 3044420 h 3044420"/>
              <a:gd name="connsiteX5" fmla="*/ 1918107 w 2744787"/>
              <a:gd name="connsiteY5" fmla="*/ 2736850 h 3044420"/>
              <a:gd name="connsiteX6" fmla="*/ 0 w 2744787"/>
              <a:gd name="connsiteY6" fmla="*/ 2736850 h 3044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44787" h="3044420">
                <a:moveTo>
                  <a:pt x="0" y="0"/>
                </a:moveTo>
                <a:lnTo>
                  <a:pt x="2744787" y="0"/>
                </a:lnTo>
                <a:lnTo>
                  <a:pt x="2744787" y="2736850"/>
                </a:lnTo>
                <a:lnTo>
                  <a:pt x="2533247" y="2736850"/>
                </a:lnTo>
                <a:lnTo>
                  <a:pt x="2225676" y="3044420"/>
                </a:lnTo>
                <a:lnTo>
                  <a:pt x="1918107" y="2736850"/>
                </a:lnTo>
                <a:lnTo>
                  <a:pt x="0" y="2736850"/>
                </a:lnTo>
                <a:close/>
              </a:path>
            </a:pathLst>
          </a:custGeom>
          <a:solidFill>
            <a:srgbClr val="F1F0F0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BFBEEC-469A-4BBF-8737-8F28A16D4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DDEFD0C-6DA6-4221-9C15-4F4C5B0986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16D1F03-5AD8-455C-BF5F-794358210A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80A1515-7905-4DD3-8B88-38DFA503D4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2906" y="2280170"/>
            <a:ext cx="2519389" cy="2461719"/>
          </a:xfrm>
          <a:solidFill>
            <a:srgbClr val="F1F0F0"/>
          </a:solidFill>
        </p:spPr>
        <p:txBody>
          <a:bodyPr/>
          <a:lstStyle>
            <a:lvl1pPr>
              <a:lnSpc>
                <a:spcPct val="98000"/>
              </a:lnSpc>
              <a:defRPr sz="1500"/>
            </a:lvl1pPr>
          </a:lstStyle>
          <a:p>
            <a:pPr lvl="0"/>
            <a:r>
              <a:rPr lang="en-US"/>
              <a:t>Click to edit quotation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B53A602-EBB5-4156-86D2-9FD7A3F6D8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89761" y="3215303"/>
            <a:ext cx="2519389" cy="2461719"/>
          </a:xfrm>
          <a:noFill/>
        </p:spPr>
        <p:txBody>
          <a:bodyPr/>
          <a:lstStyle>
            <a:lvl1pPr>
              <a:lnSpc>
                <a:spcPct val="98000"/>
              </a:lnSpc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quotation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207D0EB-09A9-4378-826F-3AA5A016F4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2700" y="1484025"/>
            <a:ext cx="2519389" cy="2461719"/>
          </a:xfrm>
          <a:solidFill>
            <a:srgbClr val="F1F0F0"/>
          </a:solidFill>
        </p:spPr>
        <p:txBody>
          <a:bodyPr/>
          <a:lstStyle>
            <a:lvl1pPr>
              <a:lnSpc>
                <a:spcPct val="98000"/>
              </a:lnSpc>
              <a:defRPr sz="1500"/>
            </a:lvl1pPr>
          </a:lstStyle>
          <a:p>
            <a:pPr lvl="0"/>
            <a:r>
              <a:rPr lang="en-US"/>
              <a:t>Click to edit quotation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2A89BCDE-9F57-4706-8EDC-F787BAB020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72444" y="2616615"/>
            <a:ext cx="2519389" cy="2461719"/>
          </a:xfrm>
          <a:noFill/>
        </p:spPr>
        <p:txBody>
          <a:bodyPr/>
          <a:lstStyle>
            <a:lvl1pPr>
              <a:lnSpc>
                <a:spcPct val="98000"/>
              </a:lnSpc>
              <a:defRPr sz="1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quo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70621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518E12E-DD66-4295-9460-DC9A8D3884C3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06008" y="2466000"/>
            <a:ext cx="2809428" cy="2808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48534" y="2664000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FCE7F66-1926-4E45-B807-40EE0AD954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008" y="5461755"/>
            <a:ext cx="2803905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6AB10830-E625-491E-9945-3A16EA8581F1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234387" y="1413053"/>
            <a:ext cx="2809428" cy="2808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176913" y="1611053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AA41A8E-5552-49A8-879A-3AC8BAABF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9187" y="4408808"/>
            <a:ext cx="2796327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26F77D6E-792A-4707-A5BC-DC5FD0EEC80A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162766" y="2466000"/>
            <a:ext cx="2809428" cy="2808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105292" y="2664000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973ED22-4EA4-45FB-A106-95146F44DD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7567" y="5461755"/>
            <a:ext cx="2829106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9" name="Picture Placeholder 11">
            <a:extLst>
              <a:ext uri="{FF2B5EF4-FFF2-40B4-BE49-F238E27FC236}">
                <a16:creationId xmlns:a16="http://schemas.microsoft.com/office/drawing/2014/main" id="{B02C5EA8-D029-44AD-833F-7A3C70A6B124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091146" y="1304818"/>
            <a:ext cx="2809428" cy="2808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9B04142-1CA8-4AA9-B84F-FA4E3AA3EE42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>
          <a:xfrm>
            <a:off x="9033672" y="1502818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873D053-DD55-4263-90DD-5251755B2F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80500" y="4300573"/>
            <a:ext cx="2718786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91839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518E12E-DD66-4295-9460-DC9A8D3884C3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20454" y="1751500"/>
            <a:ext cx="3240000" cy="3240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20703" y="1812700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6AB10830-E625-491E-9945-3A16EA8581F1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475913" y="1751500"/>
            <a:ext cx="3240000" cy="3240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499400" y="1812700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6" name="Picture Placeholder 11">
            <a:extLst>
              <a:ext uri="{FF2B5EF4-FFF2-40B4-BE49-F238E27FC236}">
                <a16:creationId xmlns:a16="http://schemas.microsoft.com/office/drawing/2014/main" id="{26F77D6E-792A-4707-A5BC-DC5FD0EEC80A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8331210" y="1751500"/>
            <a:ext cx="3240000" cy="3240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342097" y="1812700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0D384EC-533B-4E4F-AA8F-06C4D3E27F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055" y="5169133"/>
            <a:ext cx="3239999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16D2B86-1954-6E4C-8068-D67A0D5EF1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6000" y="5169133"/>
            <a:ext cx="3239999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D4C6BF8D-6C0B-5941-9C53-FA213691220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1298" y="5169133"/>
            <a:ext cx="3239999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06386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6588" y="1778000"/>
            <a:ext cx="2606675" cy="1238450"/>
          </a:xfrm>
          <a:solidFill>
            <a:schemeClr val="accent1"/>
          </a:solidFill>
        </p:spPr>
        <p:txBody>
          <a:bodyPr lIns="108000" tIns="108000" rIns="36000" bIns="36000"/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36588" y="3142355"/>
            <a:ext cx="2606675" cy="1238450"/>
          </a:xfrm>
          <a:solidFill>
            <a:schemeClr val="accent1"/>
          </a:solidFill>
        </p:spPr>
        <p:txBody>
          <a:bodyPr lIns="108000" tIns="108000" rIns="36000" bIns="36000"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36588" y="4506710"/>
            <a:ext cx="2606675" cy="1238450"/>
          </a:xfrm>
          <a:solidFill>
            <a:schemeClr val="accent1"/>
          </a:solidFill>
        </p:spPr>
        <p:txBody>
          <a:bodyPr lIns="108000" tIns="108000" rIns="36000" bIns="36000"/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405188" y="1778000"/>
            <a:ext cx="8150225" cy="1238250"/>
          </a:xfrm>
        </p:spPr>
        <p:txBody>
          <a:bodyPr lIns="72000" tIns="7200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405188" y="3141663"/>
            <a:ext cx="8150225" cy="1239813"/>
          </a:xfrm>
        </p:spPr>
        <p:txBody>
          <a:bodyPr lIns="72000" tIns="7200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3405188" y="4506913"/>
            <a:ext cx="8150225" cy="1238250"/>
          </a:xfrm>
        </p:spPr>
        <p:txBody>
          <a:bodyPr lIns="72000" tIns="7200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5A6ECE-EC34-4FD8-818E-F8A509894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13CEA99-0D53-4616-AD39-78F0BB99D3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3118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 topics text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BF1751-1526-413F-A8CC-D0765661B235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396000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2CCF0993-25E9-4314-AC17-DF8976998DD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6315416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96000" y="2052000"/>
            <a:ext cx="630001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315416" y="2052000"/>
            <a:ext cx="630001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AFD907-C9CC-4844-8A4F-50AC805DC3D0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3355708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355708" y="2052000"/>
            <a:ext cx="630001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A3410F1-1263-4670-967B-C455E6A878AB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9275125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D7DFF42-5474-4848-9A51-F33F84ACA599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9275125" y="2052000"/>
            <a:ext cx="630001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410F430-BDAF-064E-BFCF-29A97E0320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4830061"/>
            <a:ext cx="2520712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FDED0B88-90C4-3741-9A20-02C9798E91B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57419" y="4830061"/>
            <a:ext cx="2520712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22DCB30-DD7F-9B45-B6C5-FF17BB70080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15416" y="4830061"/>
            <a:ext cx="2520712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2301971-CE76-F448-85EF-27B62E33AA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74769" y="4830061"/>
            <a:ext cx="2520712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75786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 topics text Grey bg">
    <p:bg>
      <p:bgPr>
        <a:solidFill>
          <a:srgbClr val="F1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BF1751-1526-413F-A8CC-D0765661B235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396000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2CCF0993-25E9-4314-AC17-DF8976998DD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6315416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396000" y="2052000"/>
            <a:ext cx="630001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6315416" y="2052000"/>
            <a:ext cx="630001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AFD907-C9CC-4844-8A4F-50AC805DC3D0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3355708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3355708" y="2052000"/>
            <a:ext cx="630001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A3410F1-1263-4670-967B-C455E6A878AB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9275125" y="2106000"/>
            <a:ext cx="2520000" cy="252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D7DFF42-5474-4848-9A51-F33F84ACA599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9275125" y="2052000"/>
            <a:ext cx="630001" cy="630000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AB71338-6D9A-524C-9E8C-8539E7BEF8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4830061"/>
            <a:ext cx="2520712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CFE18152-05D4-8148-8179-74C8386B346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57419" y="4830061"/>
            <a:ext cx="2520712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3419BB5F-2C1B-0E49-829D-66EBD50E96E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15416" y="4830061"/>
            <a:ext cx="2520712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9A08E426-551A-1F48-8CDE-8526D7924D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74769" y="4830061"/>
            <a:ext cx="2520712" cy="255488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61435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 topics text 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BF1751-1526-413F-A8CC-D0765661B235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620453" y="1754641"/>
            <a:ext cx="3240001" cy="324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2CCF0993-25E9-4314-AC17-DF8976998DD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8331209" y="1754641"/>
            <a:ext cx="3240001" cy="324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20703" y="1816329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342097" y="1816329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AFD907-C9CC-4844-8A4F-50AC805DC3D0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4475912" y="1754641"/>
            <a:ext cx="3240001" cy="3240000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499400" y="1816329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94559F7-85A7-435B-A084-78414197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0CF048F-02CB-0745-B995-F8A27E6BFB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055" y="5169133"/>
            <a:ext cx="3239999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6A96C66-372A-4742-BBFB-69F2F980B7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6000" y="5169133"/>
            <a:ext cx="3239999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EF925049-D199-654A-A77B-FE9AA4D9F9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1298" y="5169133"/>
            <a:ext cx="3239999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64689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 topics text Grey bg">
    <p:bg>
      <p:bgPr>
        <a:solidFill>
          <a:srgbClr val="F1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C3E815-DFEB-4535-832B-47113EFE0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149E38-5231-4B57-A957-68836AE7B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EBF27AB-271C-478D-B73F-3ED3E26123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BF1751-1526-413F-A8CC-D0765661B235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620453" y="1754641"/>
            <a:ext cx="3240001" cy="324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2CCF0993-25E9-4314-AC17-DF8976998DD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8331209" y="1754641"/>
            <a:ext cx="3240001" cy="324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B20E2A7-CE94-4267-9190-506565B41434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20703" y="1816329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F6C518B-9B13-4B20-9138-47BBD26BE20B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8342097" y="1816329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AFD907-C9CC-4844-8A4F-50AC805DC3D0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4475912" y="1754641"/>
            <a:ext cx="3240001" cy="324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46BBEC8-27F4-42C2-B432-A3175604E1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499400" y="1816329"/>
            <a:ext cx="630001" cy="63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o.</a:t>
            </a:r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94559F7-85A7-435B-A084-78414197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FC27684C-9769-9445-BDBD-467237CF25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055" y="5169133"/>
            <a:ext cx="3239999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B52AE03C-D1A6-1E48-A3C7-6042E6E4E8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76000" y="5169133"/>
            <a:ext cx="3239999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B268D92-BB1B-8D4F-8A52-AB0EB1E4DFB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1298" y="5169133"/>
            <a:ext cx="3239999" cy="247290"/>
          </a:xfrm>
        </p:spPr>
        <p:txBody>
          <a:bodyPr/>
          <a:lstStyle>
            <a:lvl1pPr algn="ctr">
              <a:defRPr sz="1500"/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64328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wcas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640351-F3B7-4BA9-9198-4D1FB1B560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D60E37-31CA-4F48-A5D4-DEEA4E41EF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027C01F3-7940-4574-9FA6-B94F9728AA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136D9CD-786E-4125-B199-0BB0A1948F6F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620343" y="395288"/>
            <a:ext cx="3456000" cy="3456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8465D2AE-E121-44C6-9B31-4AF6C2DE390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-294606" y="2900349"/>
            <a:ext cx="3456000" cy="3456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705839EB-BFD8-46BD-AE2F-30850E1092B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9089225" y="2164018"/>
            <a:ext cx="3456000" cy="3456000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0E77BB9-C303-4FB1-89A2-0E3BD1025D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56838" y="4319856"/>
            <a:ext cx="1779599" cy="92960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1"/>
                </a:solidFill>
                <a:latin typeface="+mj-lt"/>
              </a:defRPr>
            </a:lvl1pPr>
            <a:lvl2pPr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Edit stat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2A5BB700-F209-4C22-87C7-D453AA0AAA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5985" y="4886601"/>
            <a:ext cx="1779599" cy="92960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1"/>
                </a:solidFill>
                <a:latin typeface="+mj-lt"/>
              </a:defRPr>
            </a:lvl1pPr>
            <a:lvl2pPr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Edit stat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6BC806E-8C63-46D6-A989-DEF4DCBD10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89225" y="540347"/>
            <a:ext cx="1740700" cy="92960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accent1"/>
                </a:solidFill>
                <a:latin typeface="+mj-lt"/>
              </a:defRPr>
            </a:lvl1pPr>
            <a:lvl2pPr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Edit stat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F7C443E-D92A-964B-B831-FB5CC29B2701}"/>
              </a:ext>
            </a:extLst>
          </p:cNvPr>
          <p:cNvGrpSpPr/>
          <p:nvPr userDrawn="1"/>
        </p:nvGrpSpPr>
        <p:grpSpPr>
          <a:xfrm>
            <a:off x="3155946" y="4413825"/>
            <a:ext cx="734922" cy="108000"/>
            <a:chOff x="3426679" y="4423111"/>
            <a:chExt cx="734922" cy="108000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47FEE61A-DDE1-C041-A1C3-42D404FAAA8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34679" y="4477111"/>
              <a:ext cx="626922" cy="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59D8537-3E31-344F-9F19-B9F2EDAB25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26679" y="4423111"/>
              <a:ext cx="108000" cy="108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2EBB582-8D16-954F-A394-0BC8D453547F}"/>
              </a:ext>
            </a:extLst>
          </p:cNvPr>
          <p:cNvGrpSpPr/>
          <p:nvPr userDrawn="1"/>
        </p:nvGrpSpPr>
        <p:grpSpPr>
          <a:xfrm>
            <a:off x="7339230" y="625149"/>
            <a:ext cx="1704660" cy="108000"/>
            <a:chOff x="3426679" y="4423111"/>
            <a:chExt cx="1704660" cy="10800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7EC9682-5F98-1544-970E-0DAB51A4DF5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34679" y="4477111"/>
              <a:ext cx="1596660" cy="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E564EF8-5CB9-3843-B3BD-CFD4F04F14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26679" y="4423111"/>
              <a:ext cx="108000" cy="108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C84E2C5-2BE1-864F-8D22-F466CE9FEFD9}"/>
              </a:ext>
            </a:extLst>
          </p:cNvPr>
          <p:cNvGrpSpPr/>
          <p:nvPr userDrawn="1"/>
        </p:nvGrpSpPr>
        <p:grpSpPr>
          <a:xfrm rot="10800000">
            <a:off x="8764662" y="4978629"/>
            <a:ext cx="734922" cy="108000"/>
            <a:chOff x="3426679" y="4423111"/>
            <a:chExt cx="734922" cy="108000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F94764B-3395-EC4B-9C68-EE7BBE758DD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34679" y="4477111"/>
              <a:ext cx="626922" cy="0"/>
            </a:xfrm>
            <a:prstGeom prst="line">
              <a:avLst/>
            </a:prstGeom>
            <a:ln w="9525">
              <a:solidFill>
                <a:schemeClr val="accent1"/>
              </a:solidFill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89F817B-A7F3-6645-82BB-0C0F7C740F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26679" y="4423111"/>
              <a:ext cx="108000" cy="10800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err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591153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C68FE0-9D4B-4D2A-8A04-6F604573355D}"/>
              </a:ext>
            </a:extLst>
          </p:cNvPr>
          <p:cNvCxnSpPr>
            <a:stCxn id="8" idx="6"/>
            <a:endCxn id="11" idx="2"/>
          </p:cNvCxnSpPr>
          <p:nvPr userDrawn="1"/>
        </p:nvCxnSpPr>
        <p:spPr>
          <a:xfrm>
            <a:off x="1907288" y="3147820"/>
            <a:ext cx="8372864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2B69099-F673-423F-9EBF-EF3E7475D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1C0C6F-8636-43FB-AA48-6CFE625BF8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F160380E-C2C2-4B4A-A28B-D524FE77CE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D97BDB-0B1B-4345-AB6F-4590E9A894BC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4257720" y="1311820"/>
            <a:ext cx="3672000" cy="3672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43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A1A8E79-3608-49CF-8C98-F86CD5C7EB02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95288" y="2391820"/>
            <a:ext cx="1512000" cy="15120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icon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F83619E7-ED63-4FEF-94FB-F5137EA5EA1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326504" y="2391820"/>
            <a:ext cx="1512000" cy="15120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icon</a:t>
            </a:r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30A64DEE-496A-42BE-8716-97F9DC601EA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348936" y="2391820"/>
            <a:ext cx="1512000" cy="15120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icon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EC7032B5-EFC0-4FFB-8F5F-5391589BF3B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10280152" y="2391820"/>
            <a:ext cx="1512000" cy="151200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ic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1EAD6DB-74C7-427C-B996-40983E7AFB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5289" y="4158635"/>
            <a:ext cx="1512000" cy="1462087"/>
          </a:xfrm>
        </p:spPr>
        <p:txBody>
          <a:bodyPr/>
          <a:lstStyle>
            <a:lvl1pPr algn="ctr">
              <a:spcAft>
                <a:spcPts val="0"/>
              </a:spcAft>
              <a:defRPr sz="1500">
                <a:solidFill>
                  <a:schemeClr val="accent1"/>
                </a:solidFill>
              </a:defRPr>
            </a:lvl1pPr>
            <a:lvl2pPr algn="ctr">
              <a:spcAft>
                <a:spcPts val="0"/>
              </a:spcAft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0BAE33B9-B7D0-4355-9985-D9E81D59E3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26504" y="4158635"/>
            <a:ext cx="1512000" cy="1462087"/>
          </a:xfrm>
        </p:spPr>
        <p:txBody>
          <a:bodyPr/>
          <a:lstStyle>
            <a:lvl1pPr algn="ctr">
              <a:spcAft>
                <a:spcPts val="0"/>
              </a:spcAft>
              <a:defRPr sz="1500">
                <a:solidFill>
                  <a:schemeClr val="accent1"/>
                </a:solidFill>
              </a:defRPr>
            </a:lvl1pPr>
            <a:lvl2pPr algn="ctr">
              <a:spcAft>
                <a:spcPts val="0"/>
              </a:spcAft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DED5E308-5A6D-4E0A-9478-CD2E53BD9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7911" y="4158635"/>
            <a:ext cx="1512000" cy="1462087"/>
          </a:xfrm>
        </p:spPr>
        <p:txBody>
          <a:bodyPr/>
          <a:lstStyle>
            <a:lvl1pPr algn="ctr">
              <a:spcAft>
                <a:spcPts val="0"/>
              </a:spcAft>
              <a:defRPr sz="1500">
                <a:solidFill>
                  <a:schemeClr val="accent1"/>
                </a:solidFill>
              </a:defRPr>
            </a:lvl1pPr>
            <a:lvl2pPr algn="ctr">
              <a:spcAft>
                <a:spcPts val="0"/>
              </a:spcAft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624E157F-35C8-4765-9001-352A442A115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289126" y="4158635"/>
            <a:ext cx="1512000" cy="1462087"/>
          </a:xfrm>
        </p:spPr>
        <p:txBody>
          <a:bodyPr/>
          <a:lstStyle>
            <a:lvl1pPr algn="ctr">
              <a:spcAft>
                <a:spcPts val="0"/>
              </a:spcAft>
              <a:defRPr sz="1500">
                <a:solidFill>
                  <a:schemeClr val="accent1"/>
                </a:solidFill>
              </a:defRPr>
            </a:lvl1pPr>
            <a:lvl2pPr algn="ctr">
              <a:spcAft>
                <a:spcPts val="0"/>
              </a:spcAft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F5D5524E-1541-CD46-B1E3-6595D43C62F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4478207" y="1527820"/>
            <a:ext cx="3240001" cy="3240000"/>
          </a:xfrm>
          <a:prstGeom prst="ellipse">
            <a:avLst/>
          </a:prstGeom>
          <a:solidFill>
            <a:schemeClr val="bg1"/>
          </a:solidFill>
          <a:ln w="25400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spcAft>
                <a:spcPts val="0"/>
              </a:spcAft>
              <a:defRPr sz="3600">
                <a:solidFill>
                  <a:schemeClr val="accent1"/>
                </a:solidFill>
                <a:latin typeface="+mj-lt"/>
              </a:defRPr>
            </a:lvl1pPr>
            <a:lvl2pPr algn="ctr">
              <a:defRPr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299814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BE55A-6318-49F9-B851-497F4E5DD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342000"/>
            <a:ext cx="11399837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FC7909-9860-4D1A-8219-9321861BED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BB0D08E-E49F-41A3-83FC-E0E72C4233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7B0807F-FD51-498C-8F21-1A5595C90A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46000"/>
            <a:ext cx="2376000" cy="828000"/>
          </a:xfrm>
          <a:solidFill>
            <a:srgbClr val="F1F0F0"/>
          </a:solidFill>
        </p:spPr>
        <p:txBody>
          <a:bodyPr lIns="396000" rIns="396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B014667-CB8C-4A61-9535-26CDE689DE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54000" y="1746000"/>
            <a:ext cx="2376000" cy="828000"/>
          </a:xfrm>
          <a:solidFill>
            <a:srgbClr val="F1F0F0"/>
          </a:solidFill>
        </p:spPr>
        <p:txBody>
          <a:bodyPr lIns="360000" rIns="360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0CC6C1A-D3EF-480E-A88B-7F1DE697D6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08000" y="1746000"/>
            <a:ext cx="2376000" cy="828000"/>
          </a:xfrm>
          <a:solidFill>
            <a:srgbClr val="F1F0F0"/>
          </a:solidFill>
        </p:spPr>
        <p:txBody>
          <a:bodyPr lIns="360000" rIns="360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016E57B-C1F2-467E-AFDB-4CB1F69E49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62000" y="1746000"/>
            <a:ext cx="2376000" cy="828000"/>
          </a:xfrm>
          <a:solidFill>
            <a:srgbClr val="F1F0F0"/>
          </a:solidFill>
        </p:spPr>
        <p:txBody>
          <a:bodyPr lIns="360000" rIns="360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8930BEC3-B5A3-4512-B4F7-F63C11AA99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816000" y="1746000"/>
            <a:ext cx="2376000" cy="828000"/>
          </a:xfrm>
          <a:solidFill>
            <a:srgbClr val="F1F0F0"/>
          </a:solidFill>
        </p:spPr>
        <p:txBody>
          <a:bodyPr lIns="396000" rIns="396000" anchor="ctr"/>
          <a:lstStyle>
            <a:lvl1pPr algn="ctr">
              <a:defRPr sz="15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5A48F33-2DCF-47F3-81DC-FFD8DD6B5A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2649400"/>
            <a:ext cx="6055200" cy="1584000"/>
          </a:xfrm>
          <a:solidFill>
            <a:srgbClr val="F1F0F0"/>
          </a:solidFill>
        </p:spPr>
        <p:txBody>
          <a:bodyPr lIns="396000" tIns="180000" rIns="396000" anchor="t"/>
          <a:lstStyle>
            <a:lvl1pPr algn="ctr">
              <a:spcAft>
                <a:spcPts val="6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lnSpc>
                <a:spcPct val="98000"/>
              </a:lnSpc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E5D7180-FBAC-4C8B-847B-304E040B6C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6800" y="2649400"/>
            <a:ext cx="6055200" cy="1584000"/>
          </a:xfrm>
          <a:solidFill>
            <a:srgbClr val="F1F0F0"/>
          </a:solidFill>
        </p:spPr>
        <p:txBody>
          <a:bodyPr lIns="396000" tIns="180000" rIns="396000" anchor="t"/>
          <a:lstStyle>
            <a:lvl1pPr algn="ctr">
              <a:spcAft>
                <a:spcPts val="6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  <a:lvl2pPr algn="ctr">
              <a:lnSpc>
                <a:spcPct val="98000"/>
              </a:lnSpc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810D69E-5D1E-4A6F-B0FF-C6BE9ED89D4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4308800"/>
            <a:ext cx="12192000" cy="1584000"/>
          </a:xfrm>
          <a:solidFill>
            <a:schemeClr val="accent1"/>
          </a:solidFill>
        </p:spPr>
        <p:txBody>
          <a:bodyPr lIns="396000" tIns="180000" rIns="396000" anchor="t"/>
          <a:lstStyle>
            <a:lvl1pPr algn="ctr">
              <a:spcAft>
                <a:spcPts val="600"/>
              </a:spcAft>
              <a:defRPr sz="3000">
                <a:solidFill>
                  <a:schemeClr val="bg1"/>
                </a:solidFill>
                <a:latin typeface="+mj-lt"/>
              </a:defRPr>
            </a:lvl1pPr>
            <a:lvl2pPr algn="ctr">
              <a:lnSpc>
                <a:spcPct val="98000"/>
              </a:lnSpc>
              <a:defRPr sz="1500"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2279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with Info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8F8F267-B3A7-426C-B891-1B3CD5DCA16E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A1A912-1140-DB49-AC2C-9C031FAFE6B8}"/>
              </a:ext>
            </a:extLst>
          </p:cNvPr>
          <p:cNvSpPr txBox="1"/>
          <p:nvPr userDrawn="1"/>
        </p:nvSpPr>
        <p:spPr>
          <a:xfrm>
            <a:off x="534435" y="3520009"/>
            <a:ext cx="10455965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3800">
                <a:solidFill>
                  <a:schemeClr val="bg1"/>
                </a:solidFill>
                <a:latin typeface="+mj-lt"/>
              </a:rPr>
              <a:t>Thank you</a:t>
            </a:r>
            <a:r>
              <a:rPr lang="en-GB" sz="13800">
                <a:solidFill>
                  <a:schemeClr val="bg2"/>
                </a:solidFill>
                <a:latin typeface="+mj-lt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02DDC9-99BF-5F43-A021-C5D06D790D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101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588" y="573406"/>
            <a:ext cx="10918825" cy="590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6588" y="1163638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aseline="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169038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588" y="573406"/>
            <a:ext cx="10918825" cy="590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76325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C897AA1D-DF25-4130-860D-D2DCC86F43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3C3A26F-86AE-4916-A084-48400C8360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B2EC959-F2E1-4C55-9E88-327D6B0C3D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black">
          <a:xfrm>
            <a:off x="639113" y="3016449"/>
            <a:ext cx="3535200" cy="2728715"/>
          </a:xfrm>
          <a:custGeom>
            <a:avLst/>
            <a:gdLst>
              <a:gd name="connsiteX0" fmla="*/ 0 w 3535200"/>
              <a:gd name="connsiteY0" fmla="*/ 0 h 2495550"/>
              <a:gd name="connsiteX1" fmla="*/ 3535200 w 3535200"/>
              <a:gd name="connsiteY1" fmla="*/ 0 h 2495550"/>
              <a:gd name="connsiteX2" fmla="*/ 3535200 w 3535200"/>
              <a:gd name="connsiteY2" fmla="*/ 2495550 h 2495550"/>
              <a:gd name="connsiteX3" fmla="*/ 0 w 3535200"/>
              <a:gd name="connsiteY3" fmla="*/ 2495550 h 249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2495550">
                <a:moveTo>
                  <a:pt x="0" y="0"/>
                </a:moveTo>
                <a:lnTo>
                  <a:pt x="3535200" y="0"/>
                </a:lnTo>
                <a:lnTo>
                  <a:pt x="3535200" y="2495550"/>
                </a:lnTo>
                <a:lnTo>
                  <a:pt x="0" y="249555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36000" tIns="108000" rIns="144000"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6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89A972-08C5-4221-87BF-35E85ECE91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4327038" y="3016449"/>
            <a:ext cx="3535200" cy="2728715"/>
          </a:xfrm>
          <a:custGeom>
            <a:avLst/>
            <a:gdLst>
              <a:gd name="connsiteX0" fmla="*/ 0 w 3535200"/>
              <a:gd name="connsiteY0" fmla="*/ 0 h 2495550"/>
              <a:gd name="connsiteX1" fmla="*/ 3535200 w 3535200"/>
              <a:gd name="connsiteY1" fmla="*/ 0 h 2495550"/>
              <a:gd name="connsiteX2" fmla="*/ 3535200 w 3535200"/>
              <a:gd name="connsiteY2" fmla="*/ 2495550 h 2495550"/>
              <a:gd name="connsiteX3" fmla="*/ 0 w 3535200"/>
              <a:gd name="connsiteY3" fmla="*/ 2495550 h 249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2495550">
                <a:moveTo>
                  <a:pt x="0" y="0"/>
                </a:moveTo>
                <a:lnTo>
                  <a:pt x="3535200" y="0"/>
                </a:lnTo>
                <a:lnTo>
                  <a:pt x="3535200" y="2495550"/>
                </a:lnTo>
                <a:lnTo>
                  <a:pt x="0" y="249555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36000" tIns="108000" rIns="144000"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6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79B0B48-A2A6-45B7-9F32-EB41C4395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black">
          <a:xfrm>
            <a:off x="8020050" y="3016449"/>
            <a:ext cx="3535869" cy="2728715"/>
          </a:xfrm>
          <a:custGeom>
            <a:avLst/>
            <a:gdLst>
              <a:gd name="connsiteX0" fmla="*/ 0 w 3535869"/>
              <a:gd name="connsiteY0" fmla="*/ 0 h 2495550"/>
              <a:gd name="connsiteX1" fmla="*/ 3535869 w 3535869"/>
              <a:gd name="connsiteY1" fmla="*/ 0 h 2495550"/>
              <a:gd name="connsiteX2" fmla="*/ 3535869 w 3535869"/>
              <a:gd name="connsiteY2" fmla="*/ 2495550 h 2495550"/>
              <a:gd name="connsiteX3" fmla="*/ 0 w 3535869"/>
              <a:gd name="connsiteY3" fmla="*/ 2495550 h 249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869" h="2495550">
                <a:moveTo>
                  <a:pt x="0" y="0"/>
                </a:moveTo>
                <a:lnTo>
                  <a:pt x="3535869" y="0"/>
                </a:lnTo>
                <a:lnTo>
                  <a:pt x="3535869" y="2495550"/>
                </a:lnTo>
                <a:lnTo>
                  <a:pt x="0" y="249555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36000" tIns="108000" rIns="144000"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6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05D0DA9-CEF0-C540-A451-C16A0DCF27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639113" y="1778000"/>
            <a:ext cx="3535200" cy="1238449"/>
          </a:xfrm>
          <a:custGeom>
            <a:avLst/>
            <a:gdLst>
              <a:gd name="connsiteX0" fmla="*/ 0 w 3535200"/>
              <a:gd name="connsiteY0" fmla="*/ 0 h 1471613"/>
              <a:gd name="connsiteX1" fmla="*/ 3535200 w 3535200"/>
              <a:gd name="connsiteY1" fmla="*/ 0 h 1471613"/>
              <a:gd name="connsiteX2" fmla="*/ 3535200 w 3535200"/>
              <a:gd name="connsiteY2" fmla="*/ 1471613 h 1471613"/>
              <a:gd name="connsiteX3" fmla="*/ 0 w 3535200"/>
              <a:gd name="connsiteY3" fmla="*/ 1471613 h 147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1471613">
                <a:moveTo>
                  <a:pt x="0" y="0"/>
                </a:moveTo>
                <a:lnTo>
                  <a:pt x="3535200" y="0"/>
                </a:lnTo>
                <a:lnTo>
                  <a:pt x="3535200" y="1471613"/>
                </a:lnTo>
                <a:lnTo>
                  <a:pt x="0" y="147161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108000" tIns="108000" rIns="36000" bIns="3600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1A02950-E398-3947-A845-08BE49BF3E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4324513" y="1778000"/>
            <a:ext cx="3535200" cy="1238449"/>
          </a:xfrm>
          <a:custGeom>
            <a:avLst/>
            <a:gdLst>
              <a:gd name="connsiteX0" fmla="*/ 0 w 3535200"/>
              <a:gd name="connsiteY0" fmla="*/ 0 h 1471613"/>
              <a:gd name="connsiteX1" fmla="*/ 3535200 w 3535200"/>
              <a:gd name="connsiteY1" fmla="*/ 0 h 1471613"/>
              <a:gd name="connsiteX2" fmla="*/ 3535200 w 3535200"/>
              <a:gd name="connsiteY2" fmla="*/ 1471613 h 1471613"/>
              <a:gd name="connsiteX3" fmla="*/ 0 w 3535200"/>
              <a:gd name="connsiteY3" fmla="*/ 1471613 h 147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1471613">
                <a:moveTo>
                  <a:pt x="0" y="0"/>
                </a:moveTo>
                <a:lnTo>
                  <a:pt x="3535200" y="0"/>
                </a:lnTo>
                <a:lnTo>
                  <a:pt x="3535200" y="1471613"/>
                </a:lnTo>
                <a:lnTo>
                  <a:pt x="0" y="147161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108000" tIns="108000" rIns="36000" bIns="3600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20C9D70-8285-2C45-8556-AC335051B5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8017687" y="1778000"/>
            <a:ext cx="3535200" cy="1238449"/>
          </a:xfrm>
          <a:custGeom>
            <a:avLst/>
            <a:gdLst>
              <a:gd name="connsiteX0" fmla="*/ 0 w 3535200"/>
              <a:gd name="connsiteY0" fmla="*/ 0 h 1471613"/>
              <a:gd name="connsiteX1" fmla="*/ 3535200 w 3535200"/>
              <a:gd name="connsiteY1" fmla="*/ 0 h 1471613"/>
              <a:gd name="connsiteX2" fmla="*/ 3535200 w 3535200"/>
              <a:gd name="connsiteY2" fmla="*/ 1471613 h 1471613"/>
              <a:gd name="connsiteX3" fmla="*/ 0 w 3535200"/>
              <a:gd name="connsiteY3" fmla="*/ 1471613 h 147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1471613">
                <a:moveTo>
                  <a:pt x="0" y="0"/>
                </a:moveTo>
                <a:lnTo>
                  <a:pt x="3535200" y="0"/>
                </a:lnTo>
                <a:lnTo>
                  <a:pt x="3535200" y="1471613"/>
                </a:lnTo>
                <a:lnTo>
                  <a:pt x="0" y="147161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108000" tIns="108000" rIns="36000" bIns="3600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3080160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588" y="573406"/>
            <a:ext cx="10918825" cy="590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6588" y="1778000"/>
            <a:ext cx="5376862" cy="39862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376" y="1777999"/>
            <a:ext cx="5380037" cy="398621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6588" y="1163638"/>
            <a:ext cx="10918825" cy="253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0236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588" y="573406"/>
            <a:ext cx="10918825" cy="590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6588" y="1777999"/>
            <a:ext cx="3529012" cy="39862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920" y="1777999"/>
            <a:ext cx="3529968" cy="39862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8020050" y="1778000"/>
            <a:ext cx="3535363" cy="398621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8" y="1163638"/>
            <a:ext cx="10918825" cy="253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01844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 noChangeAspect="1"/>
          </p:cNvSpPr>
          <p:nvPr>
            <p:ph sz="quarter" idx="13"/>
          </p:nvPr>
        </p:nvSpPr>
        <p:spPr>
          <a:xfrm>
            <a:off x="785790" y="1778000"/>
            <a:ext cx="3240000" cy="324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4486455" y="1778000"/>
            <a:ext cx="3240000" cy="324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5"/>
          </p:nvPr>
        </p:nvSpPr>
        <p:spPr>
          <a:xfrm>
            <a:off x="8176873" y="1778000"/>
            <a:ext cx="3240000" cy="32400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3025" y="6238875"/>
            <a:ext cx="1077750" cy="3048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785790" y="5413375"/>
            <a:ext cx="3240000" cy="50165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476000" y="5413375"/>
            <a:ext cx="3240000" cy="50165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8176873" y="5413375"/>
            <a:ext cx="3240000" cy="50165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36588" y="573406"/>
            <a:ext cx="10918825" cy="590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36588" y="1163638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aseline="0"/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554066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6587" y="1777999"/>
            <a:ext cx="5376864" cy="398621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ltGray">
          <a:xfrm>
            <a:off x="6175376" y="2"/>
            <a:ext cx="6016626" cy="591502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6589" y="573406"/>
            <a:ext cx="5376862" cy="590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36589" y="1163638"/>
            <a:ext cx="5376862" cy="253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GB" baseline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87823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3025" y="6238875"/>
            <a:ext cx="1077750" cy="304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6588" y="635000"/>
            <a:ext cx="10918825" cy="261461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6589" y="3249613"/>
            <a:ext cx="7226300" cy="240304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600" b="1">
                <a:solidFill>
                  <a:schemeClr val="bg1"/>
                </a:solidFill>
                <a:latin typeface="TESCO Modern" panose="0200050603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341077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59150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1600" dirty="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3025" y="6238875"/>
            <a:ext cx="1077750" cy="304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6588" y="635000"/>
            <a:ext cx="10918825" cy="261461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5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36589" y="3249613"/>
            <a:ext cx="7226300" cy="240304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600" b="1">
                <a:solidFill>
                  <a:schemeClr val="bg1"/>
                </a:solidFill>
                <a:latin typeface="TESCO Modern" panose="02000506030000020004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797872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2" cy="59150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6588" y="573406"/>
            <a:ext cx="10918825" cy="5902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324061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563933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00529F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6D6767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ts val="1045"/>
              </a:lnSpc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4619068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3723" y="523982"/>
            <a:ext cx="11151089" cy="116670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5341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9F172A-FEB2-4778-9280-4CD43DB374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E6BF6E85-3F08-4B27-80B5-5D0660EF414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black">
          <a:xfrm>
            <a:off x="636588" y="1778000"/>
            <a:ext cx="2620190" cy="1238449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108000" tIns="108000" rIns="36000" bIns="36000" rtlCol="0">
            <a:noAutofit/>
          </a:bodyPr>
          <a:lstStyle>
            <a:lvl1pPr>
              <a:defRPr lang="en-US" sz="2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D0BB816-440B-48E7-9204-8324120645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D33E9765-319D-4AA6-9FF8-F2F2ECED7F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black">
          <a:xfrm>
            <a:off x="3405188" y="1778000"/>
            <a:ext cx="2620190" cy="1238449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108000" tIns="108000" rIns="36000" bIns="36000" rtlCol="0">
            <a:noAutofit/>
          </a:bodyPr>
          <a:lstStyle>
            <a:lvl1pPr>
              <a:defRPr lang="en-US" sz="2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8A66161-4CB2-46B7-849C-4C13C274F1D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6176962" y="1778000"/>
            <a:ext cx="2620190" cy="1238449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108000" tIns="108000" rIns="36000" bIns="36000" rtlCol="0">
            <a:noAutofit/>
          </a:bodyPr>
          <a:lstStyle>
            <a:lvl1pPr>
              <a:defRPr lang="en-US" sz="2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3BD53310-741A-4C76-AEB7-AF668EF3F92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8945562" y="1778000"/>
            <a:ext cx="2620190" cy="1238449"/>
          </a:xfrm>
          <a:custGeom>
            <a:avLst/>
            <a:gdLst>
              <a:gd name="connsiteX0" fmla="*/ 0 w 6096000"/>
              <a:gd name="connsiteY0" fmla="*/ 0 h 2068512"/>
              <a:gd name="connsiteX1" fmla="*/ 6096000 w 6096000"/>
              <a:gd name="connsiteY1" fmla="*/ 0 h 2068512"/>
              <a:gd name="connsiteX2" fmla="*/ 6096000 w 6096000"/>
              <a:gd name="connsiteY2" fmla="*/ 2068512 h 2068512"/>
              <a:gd name="connsiteX3" fmla="*/ 0 w 6096000"/>
              <a:gd name="connsiteY3" fmla="*/ 2068512 h 2068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2068512">
                <a:moveTo>
                  <a:pt x="0" y="0"/>
                </a:moveTo>
                <a:lnTo>
                  <a:pt x="6096000" y="0"/>
                </a:lnTo>
                <a:lnTo>
                  <a:pt x="6096000" y="2068512"/>
                </a:lnTo>
                <a:lnTo>
                  <a:pt x="0" y="2068512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lIns="108000" tIns="108000" rIns="36000" bIns="36000" rtlCol="0">
            <a:noAutofit/>
          </a:bodyPr>
          <a:lstStyle>
            <a:lvl1pPr>
              <a:defRPr lang="en-US" sz="24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D93B0796-C8FB-D84D-9F38-3736B9EC4A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black">
          <a:xfrm>
            <a:off x="639113" y="3016449"/>
            <a:ext cx="2613675" cy="2728715"/>
          </a:xfrm>
          <a:custGeom>
            <a:avLst/>
            <a:gdLst>
              <a:gd name="connsiteX0" fmla="*/ 0 w 3535200"/>
              <a:gd name="connsiteY0" fmla="*/ 0 h 2495550"/>
              <a:gd name="connsiteX1" fmla="*/ 3535200 w 3535200"/>
              <a:gd name="connsiteY1" fmla="*/ 0 h 2495550"/>
              <a:gd name="connsiteX2" fmla="*/ 3535200 w 3535200"/>
              <a:gd name="connsiteY2" fmla="*/ 2495550 h 2495550"/>
              <a:gd name="connsiteX3" fmla="*/ 0 w 3535200"/>
              <a:gd name="connsiteY3" fmla="*/ 2495550 h 249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2495550">
                <a:moveTo>
                  <a:pt x="0" y="0"/>
                </a:moveTo>
                <a:lnTo>
                  <a:pt x="3535200" y="0"/>
                </a:lnTo>
                <a:lnTo>
                  <a:pt x="3535200" y="2495550"/>
                </a:lnTo>
                <a:lnTo>
                  <a:pt x="0" y="2495550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36000" tIns="108000" rIns="144000" bIns="0" rtlCol="0">
            <a:noAutofit/>
          </a:bodyPr>
          <a:lstStyle>
            <a:lvl1pPr>
              <a:defRPr lang="en-US" i="0" dirty="0"/>
            </a:lvl1pPr>
          </a:lstStyle>
          <a:p>
            <a:pPr marL="285750" lvl="0" indent="-285750">
              <a:buChar char="•"/>
            </a:pPr>
            <a:r>
              <a:rPr lang="en-US" dirty="0"/>
              <a:t>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C519B38-95A1-EE44-8AD1-573D47FE723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black">
          <a:xfrm>
            <a:off x="3411703" y="3016449"/>
            <a:ext cx="2613675" cy="2728715"/>
          </a:xfrm>
          <a:custGeom>
            <a:avLst/>
            <a:gdLst>
              <a:gd name="connsiteX0" fmla="*/ 0 w 3535200"/>
              <a:gd name="connsiteY0" fmla="*/ 0 h 2495550"/>
              <a:gd name="connsiteX1" fmla="*/ 3535200 w 3535200"/>
              <a:gd name="connsiteY1" fmla="*/ 0 h 2495550"/>
              <a:gd name="connsiteX2" fmla="*/ 3535200 w 3535200"/>
              <a:gd name="connsiteY2" fmla="*/ 2495550 h 2495550"/>
              <a:gd name="connsiteX3" fmla="*/ 0 w 3535200"/>
              <a:gd name="connsiteY3" fmla="*/ 2495550 h 249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2495550">
                <a:moveTo>
                  <a:pt x="0" y="0"/>
                </a:moveTo>
                <a:lnTo>
                  <a:pt x="3535200" y="0"/>
                </a:lnTo>
                <a:lnTo>
                  <a:pt x="3535200" y="2495550"/>
                </a:lnTo>
                <a:lnTo>
                  <a:pt x="0" y="2495550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36000" tIns="108000" rIns="144000" bIns="0" rtlCol="0">
            <a:noAutofit/>
          </a:bodyPr>
          <a:lstStyle>
            <a:lvl1pPr>
              <a:defRPr lang="en-US" i="0" dirty="0"/>
            </a:lvl1pPr>
          </a:lstStyle>
          <a:p>
            <a:pPr marL="285750" lvl="0" indent="-285750">
              <a:buChar char="•"/>
            </a:pPr>
            <a:r>
              <a:rPr lang="en-US" dirty="0"/>
              <a:t>Edit Master text styles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5DD80C1F-0F65-1043-89EB-6CD18ADEE4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black">
          <a:xfrm>
            <a:off x="6173788" y="3016449"/>
            <a:ext cx="2613675" cy="2728715"/>
          </a:xfrm>
          <a:custGeom>
            <a:avLst/>
            <a:gdLst>
              <a:gd name="connsiteX0" fmla="*/ 0 w 3535200"/>
              <a:gd name="connsiteY0" fmla="*/ 0 h 2495550"/>
              <a:gd name="connsiteX1" fmla="*/ 3535200 w 3535200"/>
              <a:gd name="connsiteY1" fmla="*/ 0 h 2495550"/>
              <a:gd name="connsiteX2" fmla="*/ 3535200 w 3535200"/>
              <a:gd name="connsiteY2" fmla="*/ 2495550 h 2495550"/>
              <a:gd name="connsiteX3" fmla="*/ 0 w 3535200"/>
              <a:gd name="connsiteY3" fmla="*/ 2495550 h 249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2495550">
                <a:moveTo>
                  <a:pt x="0" y="0"/>
                </a:moveTo>
                <a:lnTo>
                  <a:pt x="3535200" y="0"/>
                </a:lnTo>
                <a:lnTo>
                  <a:pt x="3535200" y="2495550"/>
                </a:lnTo>
                <a:lnTo>
                  <a:pt x="0" y="2495550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36000" tIns="108000" rIns="144000" bIns="0" rtlCol="0">
            <a:noAutofit/>
          </a:bodyPr>
          <a:lstStyle>
            <a:lvl1pPr>
              <a:defRPr lang="en-US" i="0" dirty="0"/>
            </a:lvl1pPr>
          </a:lstStyle>
          <a:p>
            <a:pPr marL="285750" lvl="0" indent="-285750">
              <a:buChar char="•"/>
            </a:pPr>
            <a:r>
              <a:rPr lang="en-US" dirty="0"/>
              <a:t>Edit Master text styles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8080A3F4-1DB1-5C4F-820C-B8B5939F78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black">
          <a:xfrm>
            <a:off x="8952077" y="3016449"/>
            <a:ext cx="2613675" cy="2728715"/>
          </a:xfrm>
          <a:custGeom>
            <a:avLst/>
            <a:gdLst>
              <a:gd name="connsiteX0" fmla="*/ 0 w 3535200"/>
              <a:gd name="connsiteY0" fmla="*/ 0 h 2495550"/>
              <a:gd name="connsiteX1" fmla="*/ 3535200 w 3535200"/>
              <a:gd name="connsiteY1" fmla="*/ 0 h 2495550"/>
              <a:gd name="connsiteX2" fmla="*/ 3535200 w 3535200"/>
              <a:gd name="connsiteY2" fmla="*/ 2495550 h 2495550"/>
              <a:gd name="connsiteX3" fmla="*/ 0 w 3535200"/>
              <a:gd name="connsiteY3" fmla="*/ 2495550 h 249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2495550">
                <a:moveTo>
                  <a:pt x="0" y="0"/>
                </a:moveTo>
                <a:lnTo>
                  <a:pt x="3535200" y="0"/>
                </a:lnTo>
                <a:lnTo>
                  <a:pt x="3535200" y="2495550"/>
                </a:lnTo>
                <a:lnTo>
                  <a:pt x="0" y="2495550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36000" tIns="108000" rIns="144000" bIns="0" rtlCol="0">
            <a:noAutofit/>
          </a:bodyPr>
          <a:lstStyle>
            <a:lvl1pPr>
              <a:defRPr lang="en-US" i="0" dirty="0"/>
            </a:lvl1pPr>
          </a:lstStyle>
          <a:p>
            <a:pPr marL="285750" lvl="0" indent="-285750">
              <a:buChar char="•"/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26269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9" y="1761174"/>
            <a:ext cx="11399836" cy="4116387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3pPr>
              <a:defRPr sz="2100"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 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03006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306382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07849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B6BE986-07D7-4298-9F09-D6A5A3740D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2" y="0"/>
            <a:ext cx="5610226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4A0DB6-6EF4-4E9C-994C-42816EF0A6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90" y="342001"/>
            <a:ext cx="4632325" cy="2701653"/>
          </a:xfrm>
        </p:spPr>
        <p:txBody>
          <a:bodyPr/>
          <a:lstStyle>
            <a:lvl1pPr>
              <a:defRPr sz="9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DA0B0AF1-B9C1-4D82-B9D7-D3FE3605A0C4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184899" y="395288"/>
            <a:ext cx="5610226" cy="5499100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94411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C15670-2682-4E9A-81E9-C7F78A6277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D3BAD5A-E7FD-4DCE-9C47-4A11B06ED4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8944266-0FA8-4477-85BF-DD8B45B1FE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89" y="2095778"/>
            <a:ext cx="11399836" cy="3798610"/>
          </a:xfrm>
        </p:spPr>
        <p:txBody>
          <a:bodyPr/>
          <a:lstStyle>
            <a:lvl1pPr marL="270003" indent="-270003">
              <a:lnSpc>
                <a:spcPct val="97000"/>
              </a:lnSpc>
              <a:spcAft>
                <a:spcPts val="0"/>
              </a:spcAft>
              <a:defRPr sz="4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quotation or statement</a:t>
            </a:r>
          </a:p>
        </p:txBody>
      </p:sp>
    </p:spTree>
    <p:extLst>
      <p:ext uri="{BB962C8B-B14F-4D97-AF65-F5344CB8AC3E}">
        <p14:creationId xmlns:p14="http://schemas.microsoft.com/office/powerpoint/2010/main" val="388636101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289" y="342000"/>
            <a:ext cx="5610226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90" y="1010496"/>
            <a:ext cx="5610224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FE1B538-B42A-49D3-B7DB-BDEE85612D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84401" y="0"/>
            <a:ext cx="5607600" cy="5894388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1EDB97A-485A-4D42-95B1-DD39B05A42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5289" y="1761173"/>
            <a:ext cx="5610226" cy="4116388"/>
          </a:xfrm>
        </p:spPr>
        <p:txBody>
          <a:bodyPr/>
          <a:lstStyle>
            <a:lvl1pPr>
              <a:defRPr sz="2100"/>
            </a:lvl1pPr>
            <a:lvl2pPr>
              <a:defRPr sz="2200"/>
            </a:lvl2pPr>
            <a:lvl3pPr>
              <a:defRPr sz="21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41411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FE1B538-B42A-49D3-B7DB-BDEE85612D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680000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9F80D1-93C0-4329-A083-331271D595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9" y="340703"/>
            <a:ext cx="3679826" cy="1815123"/>
          </a:xfrm>
        </p:spPr>
        <p:txBody>
          <a:bodyPr/>
          <a:lstStyle>
            <a:lvl1pPr>
              <a:lnSpc>
                <a:spcPct val="90000"/>
              </a:lnSpc>
              <a:defRPr sz="4500" spc="-3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9D6BDE-04FF-4058-8BFF-16EF96AD9F2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19700" y="395288"/>
            <a:ext cx="6577013" cy="5237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25780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Li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FE1B538-B42A-49D3-B7DB-BDEE85612D2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2" y="0"/>
            <a:ext cx="5610226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9F80D1-93C0-4329-A083-331271D595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340703"/>
            <a:ext cx="4645026" cy="1815123"/>
          </a:xfrm>
        </p:spPr>
        <p:txBody>
          <a:bodyPr/>
          <a:lstStyle>
            <a:lvl1pPr>
              <a:lnSpc>
                <a:spcPct val="90000"/>
              </a:lnSpc>
              <a:defRPr sz="4500" spc="-3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ED3697DA-6552-4881-BE32-443BD4BBABDD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184899" y="395288"/>
            <a:ext cx="5610226" cy="5237162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778062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Li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9F80D1-93C0-4329-A083-331271D595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340703"/>
            <a:ext cx="4645026" cy="1815123"/>
          </a:xfrm>
        </p:spPr>
        <p:txBody>
          <a:bodyPr/>
          <a:lstStyle>
            <a:lvl1pPr>
              <a:lnSpc>
                <a:spcPct val="90000"/>
              </a:lnSpc>
              <a:defRPr sz="4500" spc="-3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41547BB-8A5F-47B8-912D-8E4B7C047FD7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6184901" y="395288"/>
            <a:ext cx="5611813" cy="5237162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02181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Short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A43B10-4010-44D6-97A4-96534CBCB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B93C99-7AB1-4E6B-884B-D73D95635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42685CD-4B33-4DD4-899B-8476765028E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90" y="1761174"/>
            <a:ext cx="6575426" cy="41265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69745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39114" y="3016449"/>
            <a:ext cx="3535200" cy="2728714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icture he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327039" y="3016449"/>
            <a:ext cx="3535200" cy="2728714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icture he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8020050" y="3016449"/>
            <a:ext cx="3535869" cy="2728714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icture her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F38FD0A-340B-4D9C-B065-4C0FE08A05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D2C6DEC-A1BC-4FF4-9143-278D8D25C7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6587" y="1150620"/>
            <a:ext cx="10918825" cy="25317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3A86237-34FA-D842-BD6A-5E80A07166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639113" y="1778000"/>
            <a:ext cx="3535200" cy="1238449"/>
          </a:xfrm>
          <a:custGeom>
            <a:avLst/>
            <a:gdLst>
              <a:gd name="connsiteX0" fmla="*/ 0 w 3535200"/>
              <a:gd name="connsiteY0" fmla="*/ 0 h 1471613"/>
              <a:gd name="connsiteX1" fmla="*/ 3535200 w 3535200"/>
              <a:gd name="connsiteY1" fmla="*/ 0 h 1471613"/>
              <a:gd name="connsiteX2" fmla="*/ 3535200 w 3535200"/>
              <a:gd name="connsiteY2" fmla="*/ 1471613 h 1471613"/>
              <a:gd name="connsiteX3" fmla="*/ 0 w 3535200"/>
              <a:gd name="connsiteY3" fmla="*/ 1471613 h 147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1471613">
                <a:moveTo>
                  <a:pt x="0" y="0"/>
                </a:moveTo>
                <a:lnTo>
                  <a:pt x="3535200" y="0"/>
                </a:lnTo>
                <a:lnTo>
                  <a:pt x="3535200" y="1471613"/>
                </a:lnTo>
                <a:lnTo>
                  <a:pt x="0" y="147161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108000" tIns="108000" rIns="36000" bIns="3600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3191491-16EF-C843-BBA9-15236695F8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4324513" y="1778000"/>
            <a:ext cx="3535200" cy="1238449"/>
          </a:xfrm>
          <a:custGeom>
            <a:avLst/>
            <a:gdLst>
              <a:gd name="connsiteX0" fmla="*/ 0 w 3535200"/>
              <a:gd name="connsiteY0" fmla="*/ 0 h 1471613"/>
              <a:gd name="connsiteX1" fmla="*/ 3535200 w 3535200"/>
              <a:gd name="connsiteY1" fmla="*/ 0 h 1471613"/>
              <a:gd name="connsiteX2" fmla="*/ 3535200 w 3535200"/>
              <a:gd name="connsiteY2" fmla="*/ 1471613 h 1471613"/>
              <a:gd name="connsiteX3" fmla="*/ 0 w 3535200"/>
              <a:gd name="connsiteY3" fmla="*/ 1471613 h 147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1471613">
                <a:moveTo>
                  <a:pt x="0" y="0"/>
                </a:moveTo>
                <a:lnTo>
                  <a:pt x="3535200" y="0"/>
                </a:lnTo>
                <a:lnTo>
                  <a:pt x="3535200" y="1471613"/>
                </a:lnTo>
                <a:lnTo>
                  <a:pt x="0" y="147161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108000" tIns="108000" rIns="36000" bIns="3600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E4FA3F-953A-FC46-A7B6-689EB50B316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black">
          <a:xfrm>
            <a:off x="8017687" y="1778000"/>
            <a:ext cx="3535200" cy="1238449"/>
          </a:xfrm>
          <a:custGeom>
            <a:avLst/>
            <a:gdLst>
              <a:gd name="connsiteX0" fmla="*/ 0 w 3535200"/>
              <a:gd name="connsiteY0" fmla="*/ 0 h 1471613"/>
              <a:gd name="connsiteX1" fmla="*/ 3535200 w 3535200"/>
              <a:gd name="connsiteY1" fmla="*/ 0 h 1471613"/>
              <a:gd name="connsiteX2" fmla="*/ 3535200 w 3535200"/>
              <a:gd name="connsiteY2" fmla="*/ 1471613 h 1471613"/>
              <a:gd name="connsiteX3" fmla="*/ 0 w 3535200"/>
              <a:gd name="connsiteY3" fmla="*/ 1471613 h 1471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35200" h="1471613">
                <a:moveTo>
                  <a:pt x="0" y="0"/>
                </a:moveTo>
                <a:lnTo>
                  <a:pt x="3535200" y="0"/>
                </a:lnTo>
                <a:lnTo>
                  <a:pt x="3535200" y="1471613"/>
                </a:lnTo>
                <a:lnTo>
                  <a:pt x="0" y="1471613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108000" tIns="108000" rIns="36000" bIns="36000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65618065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Long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F768880-86A1-4DB9-BFB2-185D048BC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99D3BA69-988F-467F-B4D0-BC95B0EC77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D6890E-78FA-477A-BA65-CA9A67F778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289" y="1761173"/>
            <a:ext cx="5402261" cy="4143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08458B8-CF56-4014-A861-A0E29B4336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2864" y="1761173"/>
            <a:ext cx="5402261" cy="4143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0996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Long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7E223-C2EB-4A9F-8F71-CAA8B1A2D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A1AA322-AB4B-461B-BAC1-E3D2C261D8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366D9F-CFC7-4363-AA0D-3B1E2920E8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90" y="1761173"/>
            <a:ext cx="3677381" cy="4143376"/>
          </a:xfrm>
        </p:spPr>
        <p:txBody>
          <a:bodyPr rIns="360000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0304664-4B9C-482D-BB89-F3F8B5FD77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6517" y="1761173"/>
            <a:ext cx="3677381" cy="4143376"/>
          </a:xfrm>
        </p:spPr>
        <p:txBody>
          <a:bodyPr rIns="360000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038E25-A619-4464-A5E3-7EC891F008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15299" y="1761173"/>
            <a:ext cx="3679826" cy="4143376"/>
          </a:xfrm>
        </p:spPr>
        <p:txBody>
          <a:bodyPr rIns="360000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35935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 Long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7E223-C2EB-4A9F-8F71-CAA8B1A2D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8A1AA322-AB4B-461B-BAC1-E3D2C261D8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366D9F-CFC7-4363-AA0D-3B1E2920E8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5290" y="1761173"/>
            <a:ext cx="2714626" cy="4143376"/>
          </a:xfrm>
        </p:spPr>
        <p:txBody>
          <a:bodyPr rIns="36000"/>
          <a:lstStyle>
            <a:lvl4pPr>
              <a:defRPr sz="1600"/>
            </a:lvl4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0304664-4B9C-482D-BB89-F3F8B5FD77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99809" y="1761173"/>
            <a:ext cx="2705705" cy="4143376"/>
          </a:xfrm>
        </p:spPr>
        <p:txBody>
          <a:bodyPr rIns="36000"/>
          <a:lstStyle>
            <a:lvl4pPr>
              <a:defRPr sz="1600"/>
            </a:lvl4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038E25-A619-4464-A5E3-7EC891F008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900" y="1761173"/>
            <a:ext cx="2719881" cy="4143376"/>
          </a:xfrm>
        </p:spPr>
        <p:txBody>
          <a:bodyPr rIns="36000"/>
          <a:lstStyle>
            <a:lvl4pPr>
              <a:defRPr sz="1600"/>
            </a:lvl4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F221CD17-7402-4C11-A738-EB2E70E5A1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0500" y="1761173"/>
            <a:ext cx="2714626" cy="4143376"/>
          </a:xfrm>
        </p:spPr>
        <p:txBody>
          <a:bodyPr rIns="36000"/>
          <a:lstStyle>
            <a:lvl4pPr>
              <a:defRPr sz="1600"/>
            </a:lvl4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04266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l a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C8DC833-EE3B-410B-9A43-6E8F8FBA515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60000" y="1751012"/>
            <a:ext cx="4032000" cy="4140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4"/>
            <a:ext cx="4032000" cy="4139999"/>
          </a:xfrm>
          <a:solidFill>
            <a:srgbClr val="F1F0F0"/>
          </a:solidFill>
        </p:spPr>
        <p:txBody>
          <a:bodyPr lIns="396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6A514026-B35C-4343-B01F-223AE5A17C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85408" y="1751014"/>
            <a:ext cx="4033838" cy="4143375"/>
          </a:xfrm>
        </p:spPr>
        <p:txBody>
          <a:bodyPr tIns="144000"/>
          <a:lstStyle>
            <a:lvl1pPr marL="396005"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ile headlin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1751014"/>
            <a:ext cx="4032000" cy="4139999"/>
          </a:xfrm>
          <a:solidFill>
            <a:srgbClr val="F1F0F0"/>
          </a:solidFill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B1B53B1-DF19-41C9-AC46-3C4819EC7F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60000" y="1751013"/>
            <a:ext cx="4032000" cy="617672"/>
          </a:xfrm>
          <a:noFill/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0139D30-D3E6-4B85-AB95-2C90892081D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95290" y="2854800"/>
            <a:ext cx="3330000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1C380E8-45ED-414E-A502-0CCE74C6A78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254500" y="2854800"/>
            <a:ext cx="3671253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8294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ll a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1751014"/>
            <a:ext cx="4032000" cy="4139999"/>
          </a:xfrm>
          <a:solidFill>
            <a:srgbClr val="F1F0F0"/>
          </a:solidFill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4"/>
            <a:ext cx="4032000" cy="4139999"/>
          </a:xfrm>
          <a:solidFill>
            <a:srgbClr val="F1F0F0"/>
          </a:solidFill>
        </p:spPr>
        <p:txBody>
          <a:bodyPr lIns="396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0139D30-D3E6-4B85-AB95-2C90892081D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95290" y="2854800"/>
            <a:ext cx="3330000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0F5F195-43C8-1C4A-8016-DE2A1B62AE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000" y="1751013"/>
            <a:ext cx="4032000" cy="4140000"/>
          </a:xfrm>
          <a:solidFill>
            <a:srgbClr val="F1F0F0"/>
          </a:solidFill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288E1EBF-ADB1-FD43-A3B9-1586DF1841E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328973" y="2854800"/>
            <a:ext cx="3403707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38803B7C-9839-5541-A4EF-6ABCC577EE4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254500" y="2854800"/>
            <a:ext cx="3671253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73934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 of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8F82BE91-3964-48C2-83EF-465E652174F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80000" y="1751013"/>
            <a:ext cx="4032000" cy="4140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3"/>
            <a:ext cx="4032000" cy="4140000"/>
          </a:xfrm>
          <a:solidFill>
            <a:srgbClr val="F1F0F0"/>
          </a:solidFill>
        </p:spPr>
        <p:txBody>
          <a:bodyPr lIns="396000" tIns="144000"/>
          <a:lstStyle>
            <a:lvl1pPr marL="9525" indent="0">
              <a:tabLst/>
              <a:defRPr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1751014"/>
            <a:ext cx="4032000" cy="645115"/>
          </a:xfrm>
          <a:noFill/>
        </p:spPr>
        <p:txBody>
          <a:bodyPr lIns="180000" tIns="144000"/>
          <a:lstStyle>
            <a:lvl1pPr marL="9525" indent="0">
              <a:tabLst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headline</a:t>
            </a:r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818D9F9-B19D-404D-B7D5-E84E8580B6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000" y="1751013"/>
            <a:ext cx="4032000" cy="4140000"/>
          </a:xfrm>
          <a:solidFill>
            <a:srgbClr val="F1F0F0"/>
          </a:solidFill>
        </p:spPr>
        <p:txBody>
          <a:bodyPr vert="horz" lIns="180000" tIns="144000" rIns="0" bIns="0" rtlCol="0">
            <a:noAutofit/>
          </a:bodyPr>
          <a:lstStyle>
            <a:lvl1pPr>
              <a:defRPr lang="en-GB" sz="2200" dirty="0">
                <a:solidFill>
                  <a:schemeClr val="accent1"/>
                </a:solidFill>
                <a:latin typeface="+mj-lt"/>
              </a:defRPr>
            </a:lvl1pPr>
          </a:lstStyle>
          <a:p>
            <a:pPr marL="9525" lvl="0">
              <a:tabLst/>
            </a:pPr>
            <a:r>
              <a:rPr lang="en-US"/>
              <a:t>Click to edit headline</a:t>
            </a:r>
            <a:endParaRPr lang="en-GB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70B5C625-95B8-1341-AECE-34F95E57753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95290" y="2854800"/>
            <a:ext cx="3330000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018034FB-FE8D-FF42-9A72-36D72D51F1E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328973" y="2854800"/>
            <a:ext cx="3403707" cy="2777650"/>
          </a:xfrm>
        </p:spPr>
        <p:txBody>
          <a:bodyPr/>
          <a:lstStyle>
            <a:lvl1pPr>
              <a:defRPr sz="1500"/>
            </a:lvl1pPr>
            <a:lvl2pPr>
              <a:defRPr sz="1600"/>
            </a:lvl2pPr>
            <a:lvl3pPr>
              <a:defRPr sz="1500"/>
            </a:lvl3pPr>
            <a:lvl4pPr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4856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3"/>
            <a:ext cx="4039200" cy="2052000"/>
          </a:xfrm>
          <a:solidFill>
            <a:schemeClr val="accent1"/>
          </a:solidFill>
        </p:spPr>
        <p:txBody>
          <a:bodyPr vert="horz" lIns="396000" tIns="144000" rIns="180000" bIns="0" rtlCol="0">
            <a:noAutofit/>
          </a:bodyPr>
          <a:lstStyle>
            <a:lvl1pPr>
              <a:lnSpc>
                <a:spcPct val="80000"/>
              </a:lnSpc>
              <a:defRPr lang="en-US" sz="400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lnSpc>
                <a:spcPct val="80000"/>
              </a:lnSpc>
              <a:spcAft>
                <a:spcPts val="0"/>
              </a:spcAft>
            </a:pPr>
            <a:r>
              <a:rPr lang="en-US"/>
              <a:t>Click to edit point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A558F7F-7DE3-4F31-9E03-6CE8D2CC7B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52800" y="1751013"/>
            <a:ext cx="4039200" cy="2052000"/>
          </a:xfrm>
          <a:solidFill>
            <a:schemeClr val="accent1"/>
          </a:solidFill>
        </p:spPr>
        <p:txBody>
          <a:bodyPr lIns="216000" tIns="144000" rIns="396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poin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5314A79-4F72-4540-9055-5722F7A70C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5113" y="1751013"/>
            <a:ext cx="4039200" cy="2052000"/>
          </a:xfrm>
          <a:solidFill>
            <a:srgbClr val="F1F0F0"/>
          </a:solidFill>
        </p:spPr>
        <p:txBody>
          <a:bodyPr vert="horz" lIns="180000" tIns="144000" rIns="180000" bIns="0" rtlCol="0">
            <a:noAutofit/>
          </a:bodyPr>
          <a:lstStyle>
            <a:lvl1pPr>
              <a:lnSpc>
                <a:spcPct val="80000"/>
              </a:lnSpc>
              <a:defRPr lang="en-GB" sz="4000" dirty="0">
                <a:solidFill>
                  <a:schemeClr val="accent1"/>
                </a:solidFill>
                <a:latin typeface="+mj-lt"/>
              </a:defRPr>
            </a:lvl1pPr>
            <a:lvl3pPr marL="0" indent="0">
              <a:buNone/>
              <a:defRPr sz="1500"/>
            </a:lvl3pPr>
          </a:lstStyle>
          <a:p>
            <a:pPr lvl="0">
              <a:lnSpc>
                <a:spcPct val="80000"/>
              </a:lnSpc>
              <a:spcAft>
                <a:spcPts val="0"/>
              </a:spcAft>
            </a:pPr>
            <a:r>
              <a:rPr lang="en-US"/>
              <a:t>Click to edit poin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1DE6D03-6E63-4C7B-A094-122D6CDCC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80000" y="3837600"/>
            <a:ext cx="4039200" cy="2052000"/>
          </a:xfrm>
          <a:solidFill>
            <a:schemeClr val="accent1"/>
          </a:solidFill>
        </p:spPr>
        <p:txBody>
          <a:bodyPr lIns="180000" tIns="144000" rIns="180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poin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5B3D85-14F1-4639-ADD0-DC13ACBEB8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3837600"/>
            <a:ext cx="4039200" cy="2052000"/>
          </a:xfrm>
          <a:solidFill>
            <a:srgbClr val="F1F0F0"/>
          </a:solidFill>
        </p:spPr>
        <p:txBody>
          <a:bodyPr lIns="396000" tIns="144000" rIns="180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accent1"/>
                </a:solidFill>
                <a:latin typeface="+mj-lt"/>
              </a:defRPr>
            </a:lvl1pPr>
            <a:lvl2pPr>
              <a:lnSpc>
                <a:spcPct val="80000"/>
              </a:lnSpc>
              <a:defRPr/>
            </a:lvl2pPr>
            <a:lvl3pPr marL="0" indent="0">
              <a:buNone/>
              <a:defRPr sz="1500"/>
            </a:lvl3pPr>
          </a:lstStyle>
          <a:p>
            <a:pPr lvl="0"/>
            <a:r>
              <a:rPr lang="en-US"/>
              <a:t>Click to edit point</a:t>
            </a:r>
          </a:p>
          <a:p>
            <a:pPr lvl="1"/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03E2E5A-10AC-44F8-8628-07B5D9ACB1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2800" y="3837600"/>
            <a:ext cx="4039200" cy="2052000"/>
          </a:xfrm>
          <a:solidFill>
            <a:srgbClr val="F1F0F0"/>
          </a:solidFill>
        </p:spPr>
        <p:txBody>
          <a:bodyPr lIns="216000" tIns="144000" rIns="396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accent1"/>
                </a:solidFill>
                <a:latin typeface="+mj-lt"/>
              </a:defRPr>
            </a:lvl1pPr>
            <a:lvl3pPr marL="0" indent="0">
              <a:buNone/>
              <a:defRPr sz="1500"/>
            </a:lvl3pPr>
          </a:lstStyle>
          <a:p>
            <a:pPr lvl="0"/>
            <a:r>
              <a:rPr lang="en-US"/>
              <a:t>Click to edit point</a:t>
            </a:r>
          </a:p>
        </p:txBody>
      </p:sp>
    </p:spTree>
    <p:extLst>
      <p:ext uri="{BB962C8B-B14F-4D97-AF65-F5344CB8AC3E}">
        <p14:creationId xmlns:p14="http://schemas.microsoft.com/office/powerpoint/2010/main" val="25981083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751013"/>
            <a:ext cx="4039200" cy="2052000"/>
          </a:xfrm>
          <a:solidFill>
            <a:schemeClr val="bg1">
              <a:lumMod val="95000"/>
            </a:schemeClr>
          </a:solidFill>
        </p:spPr>
        <p:txBody>
          <a:bodyPr vert="horz" lIns="396000" tIns="144000" rIns="180000" bIns="0" rtlCol="0">
            <a:noAutofit/>
          </a:bodyPr>
          <a:lstStyle>
            <a:lvl1pPr>
              <a:lnSpc>
                <a:spcPct val="80000"/>
              </a:lnSpc>
              <a:defRPr lang="en-US" sz="4000" dirty="0" smtClean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lnSpc>
                <a:spcPct val="80000"/>
              </a:lnSpc>
              <a:spcAft>
                <a:spcPts val="0"/>
              </a:spcAft>
            </a:pPr>
            <a:r>
              <a:rPr lang="en-US"/>
              <a:t>Click to edit point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A558F7F-7DE3-4F31-9E03-6CE8D2CC7B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52800" y="1751013"/>
            <a:ext cx="4039200" cy="2052000"/>
          </a:xfrm>
          <a:solidFill>
            <a:schemeClr val="bg1">
              <a:lumMod val="95000"/>
            </a:schemeClr>
          </a:solidFill>
        </p:spPr>
        <p:txBody>
          <a:bodyPr lIns="216000" tIns="144000" rIns="396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point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5314A79-4F72-4540-9055-5722F7A70CD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5113" y="1751013"/>
            <a:ext cx="4039200" cy="2052000"/>
          </a:xfrm>
          <a:solidFill>
            <a:schemeClr val="tx1"/>
          </a:solidFill>
        </p:spPr>
        <p:txBody>
          <a:bodyPr vert="horz" lIns="180000" tIns="144000" rIns="180000" bIns="0" rtlCol="0">
            <a:noAutofit/>
          </a:bodyPr>
          <a:lstStyle>
            <a:lvl1pPr>
              <a:lnSpc>
                <a:spcPct val="80000"/>
              </a:lnSpc>
              <a:defRPr lang="en-GB" sz="4000" dirty="0">
                <a:solidFill>
                  <a:schemeClr val="bg1"/>
                </a:solidFill>
                <a:latin typeface="+mj-lt"/>
              </a:defRPr>
            </a:lvl1pPr>
            <a:lvl3pPr marL="0" indent="0">
              <a:buNone/>
              <a:defRPr sz="1500"/>
            </a:lvl3pPr>
          </a:lstStyle>
          <a:p>
            <a:pPr lvl="0">
              <a:lnSpc>
                <a:spcPct val="80000"/>
              </a:lnSpc>
              <a:spcAft>
                <a:spcPts val="0"/>
              </a:spcAft>
            </a:pPr>
            <a:r>
              <a:rPr lang="en-US"/>
              <a:t>Click to edit poin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1DE6D03-6E63-4C7B-A094-122D6CDCC6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80000" y="3837600"/>
            <a:ext cx="4039200" cy="2052000"/>
          </a:xfrm>
          <a:solidFill>
            <a:schemeClr val="bg1">
              <a:lumMod val="95000"/>
            </a:schemeClr>
          </a:solidFill>
        </p:spPr>
        <p:txBody>
          <a:bodyPr lIns="180000" tIns="144000" rIns="180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Click to edit poin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25B3D85-14F1-4639-ADD0-DC13ACBEB8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3837600"/>
            <a:ext cx="4039200" cy="2052000"/>
          </a:xfrm>
          <a:solidFill>
            <a:schemeClr val="tx1"/>
          </a:solidFill>
        </p:spPr>
        <p:txBody>
          <a:bodyPr lIns="396000" tIns="144000" rIns="180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80000"/>
              </a:lnSpc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500"/>
            </a:lvl3pPr>
          </a:lstStyle>
          <a:p>
            <a:pPr lvl="0"/>
            <a:r>
              <a:rPr lang="en-US"/>
              <a:t>Click to edit point</a:t>
            </a:r>
          </a:p>
          <a:p>
            <a:pPr lvl="1"/>
            <a:endParaRPr lang="en-GB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03E2E5A-10AC-44F8-8628-07B5D9ACB1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52800" y="3837600"/>
            <a:ext cx="4039200" cy="2052000"/>
          </a:xfrm>
          <a:solidFill>
            <a:schemeClr val="tx1"/>
          </a:solidFill>
        </p:spPr>
        <p:txBody>
          <a:bodyPr lIns="216000" tIns="144000" rIns="396000"/>
          <a:lstStyle>
            <a:lvl1pPr marL="0">
              <a:lnSpc>
                <a:spcPct val="80000"/>
              </a:lnSpc>
              <a:spcAft>
                <a:spcPts val="0"/>
              </a:spcAft>
              <a:defRPr sz="4000">
                <a:solidFill>
                  <a:schemeClr val="bg1"/>
                </a:solidFill>
                <a:latin typeface="+mj-lt"/>
              </a:defRPr>
            </a:lvl1pPr>
            <a:lvl3pPr marL="0" indent="0">
              <a:buNone/>
              <a:defRPr sz="1500"/>
            </a:lvl3pPr>
          </a:lstStyle>
          <a:p>
            <a:pPr lvl="0"/>
            <a:r>
              <a:rPr lang="en-US"/>
              <a:t>Click to edit point</a:t>
            </a:r>
          </a:p>
        </p:txBody>
      </p:sp>
    </p:spTree>
    <p:extLst>
      <p:ext uri="{BB962C8B-B14F-4D97-AF65-F5344CB8AC3E}">
        <p14:creationId xmlns:p14="http://schemas.microsoft.com/office/powerpoint/2010/main" val="94573476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wcase T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15F986-5B5D-4F20-AEF6-5651010AC1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839012"/>
            <a:ext cx="4032000" cy="2052000"/>
          </a:xfrm>
          <a:solidFill>
            <a:srgbClr val="F1F0F0"/>
          </a:solidFill>
        </p:spPr>
        <p:txBody>
          <a:bodyPr tIns="144000" rIns="180000"/>
          <a:lstStyle>
            <a:lvl1pPr marL="396005">
              <a:defRPr sz="2200">
                <a:solidFill>
                  <a:schemeClr val="accent1"/>
                </a:solidFill>
                <a:latin typeface="+mj-lt"/>
              </a:defRPr>
            </a:lvl1pPr>
            <a:lvl2pPr marL="404818" indent="0">
              <a:tabLst/>
              <a:defRPr sz="1500" b="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headline</a:t>
            </a:r>
          </a:p>
          <a:p>
            <a:pPr lvl="1"/>
            <a:r>
              <a:rPr lang="en-US"/>
              <a:t>Second level 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1751013"/>
            <a:ext cx="4032000" cy="2052000"/>
          </a:xfrm>
          <a:solidFill>
            <a:srgbClr val="F1F0F0"/>
          </a:solidFill>
        </p:spPr>
        <p:txBody>
          <a:bodyPr lIns="180000" tIns="144000" rIns="180000"/>
          <a:lstStyle>
            <a:lvl1pPr marL="9525" marR="0" indent="0" algn="l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2200">
                <a:solidFill>
                  <a:schemeClr val="accent1"/>
                </a:solidFill>
                <a:latin typeface="+mj-lt"/>
              </a:defRPr>
            </a:lvl1pPr>
            <a:lvl2pPr>
              <a:defRPr sz="1500" b="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headline</a:t>
            </a:r>
          </a:p>
          <a:p>
            <a:pPr marL="0" marR="0" lvl="1" indent="0" algn="l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 </a:t>
            </a:r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8F82BE91-3964-48C2-83EF-465E652174F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80000" y="3839012"/>
            <a:ext cx="40320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818D9F9-B19D-404D-B7D5-E84E8580B6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60000" y="3839012"/>
            <a:ext cx="4032000" cy="2052000"/>
          </a:xfrm>
          <a:solidFill>
            <a:srgbClr val="F1F0F0"/>
          </a:solidFill>
        </p:spPr>
        <p:txBody>
          <a:bodyPr lIns="180000" tIns="144000" rIns="396000"/>
          <a:lstStyle>
            <a:lvl1pPr marL="9525" marR="0" indent="0" algn="l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2200">
                <a:solidFill>
                  <a:schemeClr val="accent1"/>
                </a:solidFill>
                <a:latin typeface="+mj-lt"/>
              </a:defRPr>
            </a:lvl1pPr>
            <a:lvl2pPr>
              <a:defRPr sz="15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headline</a:t>
            </a:r>
          </a:p>
          <a:p>
            <a:pPr marL="0" marR="0" lvl="1" indent="0" algn="l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 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B6D6763-5398-4417-B950-FB94B20D3DD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60000" y="1751013"/>
            <a:ext cx="40320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2AB71ABD-9BB8-42CA-B0AC-FA327D68E8C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1751013"/>
            <a:ext cx="40320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3360348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oints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5EBF7-C096-4A24-AD84-895BB6FD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9" y="342000"/>
            <a:ext cx="11399836" cy="6577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5B2381-4BFA-4B58-83FE-AA3C1F91BF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EB9D43E-2372-4A31-8B68-D98BF92FFC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1010496"/>
            <a:ext cx="11399836" cy="403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00" baseline="0">
                <a:solidFill>
                  <a:schemeClr val="accent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200"/>
            </a:lvl5pPr>
          </a:lstStyle>
          <a:p>
            <a:pPr lvl="0"/>
            <a:r>
              <a:rPr lang="en-US"/>
              <a:t>Click to add subtitle</a:t>
            </a:r>
            <a:endParaRPr lang="en-GB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9121CFB-5BA4-434E-BA5A-30BC5F6AD6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80000" y="3839013"/>
            <a:ext cx="4039200" cy="2052000"/>
          </a:xfrm>
          <a:solidFill>
            <a:schemeClr val="bg1">
              <a:lumMod val="95000"/>
            </a:schemeClr>
          </a:solidFill>
        </p:spPr>
        <p:txBody>
          <a:bodyPr vert="horz" lIns="180000" tIns="144000" rIns="180000" bIns="0" rtlCol="0">
            <a:noAutofit/>
          </a:bodyPr>
          <a:lstStyle>
            <a:lvl1pPr marL="9525" marR="0" indent="0" algn="l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200" dirty="0">
                <a:solidFill>
                  <a:schemeClr val="accent1"/>
                </a:solidFill>
                <a:latin typeface="+mj-lt"/>
              </a:defRPr>
            </a:lvl1pPr>
            <a:lvl2pPr marL="9525" indent="0">
              <a:tabLst/>
              <a:defRPr lang="en-GB" sz="15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9525" lvl="0">
              <a:tabLst/>
            </a:pPr>
            <a:r>
              <a:rPr lang="en-US"/>
              <a:t>Click to edit point</a:t>
            </a:r>
          </a:p>
          <a:p>
            <a:pPr marL="9525" marR="0" lvl="1" indent="-376243" algn="l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</a:t>
            </a:r>
            <a:endParaRPr lang="en-GB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8F82BE91-3964-48C2-83EF-465E652174F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80000" y="1751011"/>
            <a:ext cx="40392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B6D6763-5398-4417-B950-FB94B20D3DD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60000" y="3839013"/>
            <a:ext cx="40392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2AB71ABD-9BB8-42CA-B0AC-FA327D68E8C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3839013"/>
            <a:ext cx="4039200" cy="2052000"/>
          </a:xfr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ictur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48D3433-5954-4B67-BE48-13721B2CB4F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0000" y="1751011"/>
            <a:ext cx="4039200" cy="2052000"/>
          </a:xfrm>
          <a:solidFill>
            <a:schemeClr val="bg1">
              <a:lumMod val="95000"/>
            </a:schemeClr>
          </a:solidFill>
        </p:spPr>
        <p:txBody>
          <a:bodyPr vert="horz" lIns="180000" tIns="144000" rIns="396000" bIns="0" rtlCol="0">
            <a:noAutofit/>
          </a:bodyPr>
          <a:lstStyle>
            <a:lvl1pPr marL="0" indent="0">
              <a:defRPr lang="en-US" sz="2200" dirty="0" smtClean="0">
                <a:solidFill>
                  <a:schemeClr val="accent1"/>
                </a:solidFill>
                <a:latin typeface="+mj-lt"/>
              </a:defRPr>
            </a:lvl1pPr>
            <a:lvl2pPr marL="9525" indent="-376243">
              <a:tabLst/>
              <a:defRPr lang="en-GB" sz="15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9525" marR="0" lvl="0" fontAlgn="auto">
              <a:buClrTx/>
              <a:buSzTx/>
              <a:tabLst/>
            </a:pPr>
            <a:r>
              <a:rPr lang="en-US"/>
              <a:t>Click to edit point</a:t>
            </a:r>
          </a:p>
          <a:p>
            <a:pPr marL="9525" marR="0" lvl="1" indent="-376243" algn="l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A05CB92-10AB-D044-AD85-A1F0404A69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751011"/>
            <a:ext cx="4039200" cy="2052000"/>
          </a:xfrm>
          <a:solidFill>
            <a:schemeClr val="bg1">
              <a:lumMod val="95000"/>
            </a:schemeClr>
          </a:solidFill>
        </p:spPr>
        <p:txBody>
          <a:bodyPr vert="horz" lIns="396000" tIns="144000" rIns="180000" bIns="0" rtlCol="0">
            <a:noAutofit/>
          </a:bodyPr>
          <a:lstStyle>
            <a:lvl1pPr marL="9525" indent="0">
              <a:tabLst/>
              <a:defRPr lang="en-US" sz="2200" dirty="0" smtClean="0">
                <a:solidFill>
                  <a:schemeClr val="accent1"/>
                </a:solidFill>
                <a:latin typeface="+mj-lt"/>
              </a:defRPr>
            </a:lvl1pPr>
            <a:lvl2pPr marL="9525" indent="-376243">
              <a:tabLst/>
              <a:defRPr lang="en-GB" sz="1500" b="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9525" marR="0" lvl="0" fontAlgn="auto">
              <a:buClrTx/>
              <a:buSzTx/>
              <a:tabLst/>
            </a:pPr>
            <a:r>
              <a:rPr lang="en-US"/>
              <a:t>Click to edit point</a:t>
            </a:r>
          </a:p>
          <a:p>
            <a:pPr marL="9525" marR="0" lvl="1" indent="-376243" algn="l" defTabSz="914411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330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slideLayout" Target="../slideLayouts/slideLayout6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slideLayout" Target="../slideLayouts/slideLayout58.xml"/><Relationship Id="rId42" Type="http://schemas.openxmlformats.org/officeDocument/2006/relationships/slideLayout" Target="../slideLayouts/slideLayout66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slideLayout" Target="../slideLayouts/slideLayout57.xml"/><Relationship Id="rId38" Type="http://schemas.openxmlformats.org/officeDocument/2006/relationships/slideLayout" Target="../slideLayouts/slideLayout6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slideLayout" Target="../slideLayouts/slideLayout53.xml"/><Relationship Id="rId41" Type="http://schemas.openxmlformats.org/officeDocument/2006/relationships/slideLayout" Target="../slideLayouts/slideLayout65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slideLayout" Target="../slideLayouts/slideLayout56.xml"/><Relationship Id="rId37" Type="http://schemas.openxmlformats.org/officeDocument/2006/relationships/slideLayout" Target="../slideLayouts/slideLayout61.xml"/><Relationship Id="rId40" Type="http://schemas.openxmlformats.org/officeDocument/2006/relationships/slideLayout" Target="../slideLayouts/slideLayout64.xml"/><Relationship Id="rId45" Type="http://schemas.openxmlformats.org/officeDocument/2006/relationships/image" Target="../media/image7.pn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36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slideLayout" Target="../slideLayouts/slideLayout55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slideLayout" Target="../slideLayouts/slideLayout54.xml"/><Relationship Id="rId35" Type="http://schemas.openxmlformats.org/officeDocument/2006/relationships/slideLayout" Target="../slideLayouts/slideLayout59.xml"/><Relationship Id="rId43" Type="http://schemas.openxmlformats.org/officeDocument/2006/relationships/slideLayout" Target="../slideLayouts/slideLayout6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image" Target="../media/image12.jpe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26" Type="http://schemas.openxmlformats.org/officeDocument/2006/relationships/slideLayout" Target="../slideLayouts/slideLayout105.xml"/><Relationship Id="rId39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100.xml"/><Relationship Id="rId34" Type="http://schemas.openxmlformats.org/officeDocument/2006/relationships/slideLayout" Target="../slideLayouts/slideLayout113.xml"/><Relationship Id="rId42" Type="http://schemas.openxmlformats.org/officeDocument/2006/relationships/slideLayout" Target="../slideLayouts/slideLayout121.xml"/><Relationship Id="rId47" Type="http://schemas.openxmlformats.org/officeDocument/2006/relationships/slideLayout" Target="../slideLayouts/slideLayout126.xml"/><Relationship Id="rId50" Type="http://schemas.openxmlformats.org/officeDocument/2006/relationships/image" Target="../media/image7.png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04.xml"/><Relationship Id="rId33" Type="http://schemas.openxmlformats.org/officeDocument/2006/relationships/slideLayout" Target="../slideLayouts/slideLayout112.xml"/><Relationship Id="rId38" Type="http://schemas.openxmlformats.org/officeDocument/2006/relationships/slideLayout" Target="../slideLayouts/slideLayout117.xml"/><Relationship Id="rId46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29" Type="http://schemas.openxmlformats.org/officeDocument/2006/relationships/slideLayout" Target="../slideLayouts/slideLayout108.xml"/><Relationship Id="rId41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103.xml"/><Relationship Id="rId32" Type="http://schemas.openxmlformats.org/officeDocument/2006/relationships/slideLayout" Target="../slideLayouts/slideLayout111.xml"/><Relationship Id="rId37" Type="http://schemas.openxmlformats.org/officeDocument/2006/relationships/slideLayout" Target="../slideLayouts/slideLayout116.xml"/><Relationship Id="rId40" Type="http://schemas.openxmlformats.org/officeDocument/2006/relationships/slideLayout" Target="../slideLayouts/slideLayout119.xml"/><Relationship Id="rId45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slideLayout" Target="../slideLayouts/slideLayout102.xml"/><Relationship Id="rId28" Type="http://schemas.openxmlformats.org/officeDocument/2006/relationships/slideLayout" Target="../slideLayouts/slideLayout107.xml"/><Relationship Id="rId36" Type="http://schemas.openxmlformats.org/officeDocument/2006/relationships/slideLayout" Target="../slideLayouts/slideLayout115.xml"/><Relationship Id="rId49" Type="http://schemas.openxmlformats.org/officeDocument/2006/relationships/theme" Target="../theme/theme4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31" Type="http://schemas.openxmlformats.org/officeDocument/2006/relationships/slideLayout" Target="../slideLayouts/slideLayout110.xml"/><Relationship Id="rId44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101.xml"/><Relationship Id="rId27" Type="http://schemas.openxmlformats.org/officeDocument/2006/relationships/slideLayout" Target="../slideLayouts/slideLayout106.xml"/><Relationship Id="rId30" Type="http://schemas.openxmlformats.org/officeDocument/2006/relationships/slideLayout" Target="../slideLayouts/slideLayout109.xml"/><Relationship Id="rId35" Type="http://schemas.openxmlformats.org/officeDocument/2006/relationships/slideLayout" Target="../slideLayouts/slideLayout114.xml"/><Relationship Id="rId43" Type="http://schemas.openxmlformats.org/officeDocument/2006/relationships/slideLayout" Target="../slideLayouts/slideLayout122.xml"/><Relationship Id="rId48" Type="http://schemas.openxmlformats.org/officeDocument/2006/relationships/slideLayout" Target="../slideLayouts/slideLayout127.xml"/><Relationship Id="rId8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0F7E3F-7A50-4403-8F1B-5A709CE72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944072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6" imgH="416" progId="TCLayout.ActiveDocument.1">
                  <p:embed/>
                </p:oleObj>
              </mc:Choice>
              <mc:Fallback>
                <p:oleObj name="think-cell Slide" r:id="rId2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0F7E3F-7A50-4403-8F1B-5A709CE72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541EC7E-4DCB-41DE-85CC-E904006CC1EC}"/>
              </a:ext>
            </a:extLst>
          </p:cNvPr>
          <p:cNvSpPr/>
          <p:nvPr userDrawn="1"/>
        </p:nvSpPr>
        <p:spPr>
          <a:xfrm>
            <a:off x="0" y="5903914"/>
            <a:ext cx="12192000" cy="9540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bg1"/>
              </a:solidFill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25CACC3F-84E7-4007-B103-827572AFFDC4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10772775" y="6221719"/>
            <a:ext cx="1112520" cy="327672"/>
          </a:xfrm>
          <a:prstGeom prst="rect">
            <a:avLst/>
          </a:prstGeom>
        </p:spPr>
      </p:pic>
      <p:sp>
        <p:nvSpPr>
          <p:cNvPr id="20" name="Title Placeholder 1"/>
          <p:cNvSpPr>
            <a:spLocks noGrp="1"/>
          </p:cNvSpPr>
          <p:nvPr userDrawn="1">
            <p:ph type="title"/>
          </p:nvPr>
        </p:nvSpPr>
        <p:spPr bwMode="black">
          <a:xfrm>
            <a:off x="636588" y="573406"/>
            <a:ext cx="10918825" cy="57721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 userDrawn="1">
            <p:ph type="body" idx="1"/>
          </p:nvPr>
        </p:nvSpPr>
        <p:spPr bwMode="black">
          <a:xfrm>
            <a:off x="640007" y="1774092"/>
            <a:ext cx="10918825" cy="39710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0" marR="0" lvl="4" indent="-17621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ourth level</a:t>
            </a:r>
          </a:p>
          <a:p>
            <a:pPr lvl="3"/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5999820" y="6312426"/>
            <a:ext cx="19236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7E60366-3988-4651-99EC-7DE99711CAAC}" type="slidenum">
              <a:rPr lang="en-GB" sz="1000" smtClean="0">
                <a:solidFill>
                  <a:schemeClr val="tx2"/>
                </a:solidFill>
              </a:rPr>
              <a:pPr algn="ctr"/>
              <a:t>‹#›</a:t>
            </a:fld>
            <a:endParaRPr lang="en-GB" sz="10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489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TESCO Modern" panose="02000506030000020004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TESCO Modern" panose="02000506030000020004" pitchFamily="2" charset="0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3pPr>
      <a:lvl4pPr marL="447675" marR="0" indent="-176213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+mj-lt"/>
        <a:buNone/>
        <a:tabLst>
          <a:tab pos="90488" algn="l"/>
        </a:tabLst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22">
          <p15:clr>
            <a:srgbClr val="F26B43"/>
          </p15:clr>
        </p15:guide>
        <p15:guide id="2" pos="3207">
          <p15:clr>
            <a:srgbClr val="F26B43"/>
          </p15:clr>
        </p15:guide>
        <p15:guide id="3" pos="401">
          <p15:clr>
            <a:srgbClr val="F26B43"/>
          </p15:clr>
        </p15:guide>
        <p15:guide id="4" pos="1461">
          <p15:clr>
            <a:srgbClr val="F26B43"/>
          </p15:clr>
        </p15:guide>
        <p15:guide id="5" pos="1564">
          <p15:clr>
            <a:srgbClr val="F26B43"/>
          </p15:clr>
        </p15:guide>
        <p15:guide id="6" pos="2145">
          <p15:clr>
            <a:srgbClr val="F26B43"/>
          </p15:clr>
        </p15:guide>
        <p15:guide id="7" pos="2725">
          <p15:clr>
            <a:srgbClr val="F26B43"/>
          </p15:clr>
        </p15:guide>
        <p15:guide id="8" pos="5052">
          <p15:clr>
            <a:srgbClr val="F26B43"/>
          </p15:clr>
        </p15:guide>
        <p15:guide id="9" pos="6216">
          <p15:clr>
            <a:srgbClr val="F26B43"/>
          </p15:clr>
        </p15:guide>
        <p15:guide id="10" pos="6115">
          <p15:clr>
            <a:srgbClr val="F26B43"/>
          </p15:clr>
        </p15:guide>
        <p15:guide id="11" pos="7279">
          <p15:clr>
            <a:srgbClr val="F26B43"/>
          </p15:clr>
        </p15:guide>
        <p15:guide id="12" pos="3309">
          <p15:clr>
            <a:srgbClr val="F26B43"/>
          </p15:clr>
        </p15:guide>
        <p15:guide id="13" pos="4951">
          <p15:clr>
            <a:srgbClr val="F26B43"/>
          </p15:clr>
        </p15:guide>
        <p15:guide id="14" orient="horz" pos="1120">
          <p15:clr>
            <a:srgbClr val="F26B43"/>
          </p15:clr>
        </p15:guide>
        <p15:guide id="15" orient="horz" pos="725">
          <p15:clr>
            <a:srgbClr val="F26B43"/>
          </p15:clr>
        </p15:guide>
        <p15:guide id="16" orient="horz" pos="391">
          <p15:clr>
            <a:srgbClr val="F26B43"/>
          </p15:clr>
        </p15:guide>
        <p15:guide id="17" orient="horz" pos="4120">
          <p15:clr>
            <a:srgbClr val="F26B43"/>
          </p15:clr>
        </p15:guide>
        <p15:guide id="18" orient="horz" pos="3719">
          <p15:clr>
            <a:srgbClr val="F26B43"/>
          </p15:clr>
        </p15:guide>
        <p15:guide id="19" orient="horz" pos="3619">
          <p15:clr>
            <a:srgbClr val="F26B43"/>
          </p15:clr>
        </p15:guide>
        <p15:guide id="20" pos="880">
          <p15:clr>
            <a:srgbClr val="F26B43"/>
          </p15:clr>
        </p15:guide>
        <p15:guide id="21" pos="981">
          <p15:clr>
            <a:srgbClr val="F26B43"/>
          </p15:clr>
        </p15:guide>
        <p15:guide id="22" pos="2043">
          <p15:clr>
            <a:srgbClr val="F26B43"/>
          </p15:clr>
        </p15:guide>
        <p15:guide id="23" pos="2625">
          <p15:clr>
            <a:srgbClr val="F26B43"/>
          </p15:clr>
        </p15:guide>
        <p15:guide id="24" pos="3890">
          <p15:clr>
            <a:srgbClr val="F26B43"/>
          </p15:clr>
        </p15:guide>
        <p15:guide id="25" pos="3789">
          <p15:clr>
            <a:srgbClr val="F26B43"/>
          </p15:clr>
        </p15:guide>
        <p15:guide id="26" pos="4470">
          <p15:clr>
            <a:srgbClr val="F26B43"/>
          </p15:clr>
        </p15:guide>
        <p15:guide id="27" pos="4371">
          <p15:clr>
            <a:srgbClr val="F26B43"/>
          </p15:clr>
        </p15:guide>
        <p15:guide id="28" pos="5634">
          <p15:clr>
            <a:srgbClr val="F26B43"/>
          </p15:clr>
        </p15:guide>
        <p15:guide id="29" pos="5541">
          <p15:clr>
            <a:srgbClr val="F26B43"/>
          </p15:clr>
        </p15:guide>
        <p15:guide id="30" pos="6697">
          <p15:clr>
            <a:srgbClr val="F26B43"/>
          </p15:clr>
        </p15:guide>
        <p15:guide id="31" pos="679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9E45C77-37AD-2346-9AE0-B9C9BED0F402}"/>
              </a:ext>
            </a:extLst>
          </p:cNvPr>
          <p:cNvSpPr/>
          <p:nvPr userDrawn="1"/>
        </p:nvSpPr>
        <p:spPr>
          <a:xfrm>
            <a:off x="0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err="1">
              <a:solidFill>
                <a:schemeClr val="bg1"/>
              </a:solidFill>
            </a:endParaRPr>
          </a:p>
        </p:txBody>
      </p:sp>
      <p:sp>
        <p:nvSpPr>
          <p:cNvPr id="20" name="Title Placeholder 1"/>
          <p:cNvSpPr>
            <a:spLocks noGrp="1"/>
          </p:cNvSpPr>
          <p:nvPr userDrawn="1">
            <p:ph type="title"/>
          </p:nvPr>
        </p:nvSpPr>
        <p:spPr bwMode="black">
          <a:xfrm>
            <a:off x="395288" y="342000"/>
            <a:ext cx="11399837" cy="797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/>
          <p:cNvSpPr>
            <a:spLocks noGrp="1"/>
          </p:cNvSpPr>
          <p:nvPr userDrawn="1">
            <p:ph type="body" idx="1"/>
          </p:nvPr>
        </p:nvSpPr>
        <p:spPr bwMode="black">
          <a:xfrm>
            <a:off x="395289" y="1761173"/>
            <a:ext cx="11399836" cy="41231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 for heading style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DC7892-8C7D-432D-8AE7-F93203949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8" y="6356349"/>
            <a:ext cx="4451350" cy="14895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9A619E-9348-6B4C-84DD-F3EBCD8062B6}"/>
              </a:ext>
            </a:extLst>
          </p:cNvPr>
          <p:cNvSpPr txBox="1"/>
          <p:nvPr userDrawn="1"/>
        </p:nvSpPr>
        <p:spPr>
          <a:xfrm>
            <a:off x="5846762" y="6353881"/>
            <a:ext cx="49688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8664B718-96F6-E041-A546-F9003A322C21}" type="slidenum">
              <a:rPr lang="en-US" sz="80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ctr"/>
              <a:t>‹#›</a:t>
            </a:fld>
            <a:endParaRPr lang="en-US" sz="80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770B0DB-34E4-F34E-BC11-0C8827073405}"/>
              </a:ext>
            </a:extLst>
          </p:cNvPr>
          <p:cNvPicPr>
            <a:picLocks noChangeAspect="1"/>
          </p:cNvPicPr>
          <p:nvPr userDrawn="1"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0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598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  <p:sldLayoutId id="2147483718" r:id="rId33"/>
    <p:sldLayoutId id="2147483719" r:id="rId34"/>
    <p:sldLayoutId id="2147483720" r:id="rId35"/>
    <p:sldLayoutId id="2147483721" r:id="rId36"/>
    <p:sldLayoutId id="2147483722" r:id="rId37"/>
    <p:sldLayoutId id="2147483723" r:id="rId38"/>
    <p:sldLayoutId id="2147483724" r:id="rId39"/>
    <p:sldLayoutId id="2147483725" r:id="rId40"/>
    <p:sldLayoutId id="2147483726" r:id="rId41"/>
    <p:sldLayoutId id="2147483727" r:id="rId42"/>
    <p:sldLayoutId id="2147483728" r:id="rId4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500" b="0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1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200" b="0" kern="1200">
          <a:solidFill>
            <a:schemeClr val="accent1"/>
          </a:solidFill>
          <a:latin typeface="+mj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95000"/>
        </a:lnSpc>
        <a:spcBef>
          <a:spcPts val="0"/>
        </a:spcBef>
        <a:spcAft>
          <a:spcPts val="2100"/>
        </a:spcAft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3pPr>
      <a:lvl4pPr marL="0" marR="0" indent="0" algn="l" defTabSz="914400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None/>
        <a:tabLst/>
        <a:defRPr sz="1500" kern="1200">
          <a:solidFill>
            <a:schemeClr val="accent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1800"/>
        </a:spcAft>
        <a:buFont typeface="+mj-lt"/>
        <a:buNone/>
        <a:tabLst>
          <a:tab pos="90488" algn="l"/>
        </a:tabLst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249">
          <p15:clr>
            <a:srgbClr val="F26B43"/>
          </p15:clr>
        </p15:guide>
        <p15:guide id="4" pos="743">
          <p15:clr>
            <a:srgbClr val="F26B43"/>
          </p15:clr>
        </p15:guide>
        <p15:guide id="5" pos="857">
          <p15:clr>
            <a:srgbClr val="F26B43"/>
          </p15:clr>
        </p15:guide>
        <p15:guide id="6" pos="1351">
          <p15:clr>
            <a:srgbClr val="F26B43"/>
          </p15:clr>
        </p15:guide>
        <p15:guide id="7" pos="1465">
          <p15:clr>
            <a:srgbClr val="F26B43"/>
          </p15:clr>
        </p15:guide>
        <p15:guide id="8" pos="1959">
          <p15:clr>
            <a:srgbClr val="F26B43"/>
          </p15:clr>
        </p15:guide>
        <p15:guide id="9" pos="2073">
          <p15:clr>
            <a:srgbClr val="F26B43"/>
          </p15:clr>
        </p15:guide>
        <p15:guide id="10" pos="2567">
          <p15:clr>
            <a:srgbClr val="F26B43"/>
          </p15:clr>
        </p15:guide>
        <p15:guide id="11" pos="2680">
          <p15:clr>
            <a:srgbClr val="F26B43"/>
          </p15:clr>
        </p15:guide>
        <p15:guide id="12" pos="3175">
          <p15:clr>
            <a:srgbClr val="F26B43"/>
          </p15:clr>
        </p15:guide>
        <p15:guide id="13" pos="3288">
          <p15:clr>
            <a:srgbClr val="F26B43"/>
          </p15:clr>
        </p15:guide>
        <p15:guide id="14" pos="3783">
          <p15:clr>
            <a:srgbClr val="F26B43"/>
          </p15:clr>
        </p15:guide>
        <p15:guide id="15" pos="3896">
          <p15:clr>
            <a:srgbClr val="F26B43"/>
          </p15:clr>
        </p15:guide>
        <p15:guide id="16" pos="4391">
          <p15:clr>
            <a:srgbClr val="F26B43"/>
          </p15:clr>
        </p15:guide>
        <p15:guide id="17" pos="4504">
          <p15:clr>
            <a:srgbClr val="F26B43"/>
          </p15:clr>
        </p15:guide>
        <p15:guide id="18" pos="4999">
          <p15:clr>
            <a:srgbClr val="F26B43"/>
          </p15:clr>
        </p15:guide>
        <p15:guide id="19" pos="5112">
          <p15:clr>
            <a:srgbClr val="F26B43"/>
          </p15:clr>
        </p15:guide>
        <p15:guide id="20" pos="5606">
          <p15:clr>
            <a:srgbClr val="F26B43"/>
          </p15:clr>
        </p15:guide>
        <p15:guide id="21" pos="5720">
          <p15:clr>
            <a:srgbClr val="F26B43"/>
          </p15:clr>
        </p15:guide>
        <p15:guide id="22" pos="6214">
          <p15:clr>
            <a:srgbClr val="F26B43"/>
          </p15:clr>
        </p15:guide>
        <p15:guide id="23" pos="6328">
          <p15:clr>
            <a:srgbClr val="F26B43"/>
          </p15:clr>
        </p15:guide>
        <p15:guide id="24" pos="6822">
          <p15:clr>
            <a:srgbClr val="F26B43"/>
          </p15:clr>
        </p15:guide>
        <p15:guide id="25" pos="6936">
          <p15:clr>
            <a:srgbClr val="F26B43"/>
          </p15:clr>
        </p15:guide>
        <p15:guide id="26" pos="7430">
          <p15:clr>
            <a:srgbClr val="F26B43"/>
          </p15:clr>
        </p15:guide>
        <p15:guide id="27" orient="horz">
          <p15:clr>
            <a:srgbClr val="F26B43"/>
          </p15:clr>
        </p15:guide>
        <p15:guide id="28" orient="horz" pos="4320">
          <p15:clr>
            <a:srgbClr val="F26B43"/>
          </p15:clr>
        </p15:guide>
        <p15:guide id="29" orient="horz" pos="249">
          <p15:clr>
            <a:srgbClr val="F26B43"/>
          </p15:clr>
        </p15:guide>
        <p15:guide id="31" orient="horz" pos="3709">
          <p15:clr>
            <a:srgbClr val="F26B43"/>
          </p15:clr>
        </p15:guide>
        <p15:guide id="32" orient="horz" pos="110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59150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sz="1600" dirty="0">
              <a:solidFill>
                <a:prstClr val="white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6277" y="6409381"/>
            <a:ext cx="1077750" cy="304800"/>
          </a:xfrm>
          <a:prstGeom prst="rect">
            <a:avLst/>
          </a:prstGeom>
        </p:spPr>
      </p:pic>
      <p:sp>
        <p:nvSpPr>
          <p:cNvPr id="20" name="Title Placeholder 1"/>
          <p:cNvSpPr>
            <a:spLocks noGrp="1"/>
          </p:cNvSpPr>
          <p:nvPr>
            <p:ph type="title"/>
          </p:nvPr>
        </p:nvSpPr>
        <p:spPr bwMode="black">
          <a:xfrm>
            <a:off x="636588" y="573406"/>
            <a:ext cx="10918825" cy="5902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36588" y="1778000"/>
            <a:ext cx="10918825" cy="3986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941870" y="6515000"/>
            <a:ext cx="15709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457200"/>
            <a:fld id="{27E60366-3988-4651-99EC-7DE99711CAAC}" type="slidenum">
              <a:rPr lang="en-GB" sz="1000">
                <a:solidFill>
                  <a:srgbClr val="6E6767"/>
                </a:solidFill>
              </a:rPr>
              <a:pPr algn="ctr" defTabSz="457200"/>
              <a:t>‹#›</a:t>
            </a:fld>
            <a:endParaRPr lang="en-GB" sz="1000" dirty="0">
              <a:solidFill>
                <a:srgbClr val="6E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4002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TESCO Modern" panose="02000506030000020004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TESCO Modern" panose="02000506030000020004" pitchFamily="2" charset="0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3pPr>
      <a:lvl4pPr marL="540000" indent="-2682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7">
          <p15:clr>
            <a:srgbClr val="F26B43"/>
          </p15:clr>
        </p15:guide>
        <p15:guide id="2" pos="3788">
          <p15:clr>
            <a:srgbClr val="F26B43"/>
          </p15:clr>
        </p15:guide>
        <p15:guide id="3" pos="401">
          <p15:clr>
            <a:srgbClr val="F26B43"/>
          </p15:clr>
        </p15:guide>
        <p15:guide id="4" pos="1462">
          <p15:clr>
            <a:srgbClr val="F26B43"/>
          </p15:clr>
        </p15:guide>
        <p15:guide id="5" pos="1561">
          <p15:clr>
            <a:srgbClr val="F26B43"/>
          </p15:clr>
        </p15:guide>
        <p15:guide id="6" pos="2624">
          <p15:clr>
            <a:srgbClr val="F26B43"/>
          </p15:clr>
        </p15:guide>
        <p15:guide id="7" pos="2729">
          <p15:clr>
            <a:srgbClr val="F26B43"/>
          </p15:clr>
        </p15:guide>
        <p15:guide id="8" pos="5052">
          <p15:clr>
            <a:srgbClr val="F26B43"/>
          </p15:clr>
        </p15:guide>
        <p15:guide id="9" pos="6216">
          <p15:clr>
            <a:srgbClr val="F26B43"/>
          </p15:clr>
        </p15:guide>
        <p15:guide id="10" pos="6117">
          <p15:clr>
            <a:srgbClr val="F26B43"/>
          </p15:clr>
        </p15:guide>
        <p15:guide id="11" pos="7279">
          <p15:clr>
            <a:srgbClr val="F26B43"/>
          </p15:clr>
        </p15:guide>
        <p15:guide id="12" pos="3890">
          <p15:clr>
            <a:srgbClr val="F26B43"/>
          </p15:clr>
        </p15:guide>
        <p15:guide id="13" pos="4953">
          <p15:clr>
            <a:srgbClr val="F26B43"/>
          </p15:clr>
        </p15:guide>
        <p15:guide id="14" orient="horz" pos="1120">
          <p15:clr>
            <a:srgbClr val="F26B43"/>
          </p15:clr>
        </p15:guide>
        <p15:guide id="15" orient="horz" pos="733">
          <p15:clr>
            <a:srgbClr val="F26B43"/>
          </p15:clr>
        </p15:guide>
        <p15:guide id="16" orient="horz" pos="400">
          <p15:clr>
            <a:srgbClr val="F26B43"/>
          </p15:clr>
        </p15:guide>
        <p15:guide id="17" orient="horz" pos="4092">
          <p15:clr>
            <a:srgbClr val="F26B43"/>
          </p15:clr>
        </p15:guide>
        <p15:guide id="18" orient="horz" pos="3726">
          <p15:clr>
            <a:srgbClr val="F26B43"/>
          </p15:clr>
        </p15:guide>
        <p15:guide id="19" orient="horz" pos="36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9E45C77-37AD-2346-9AE0-B9C9BED0F402}"/>
              </a:ext>
            </a:extLst>
          </p:cNvPr>
          <p:cNvSpPr/>
          <p:nvPr userDrawn="1"/>
        </p:nvSpPr>
        <p:spPr>
          <a:xfrm>
            <a:off x="1" y="5896800"/>
            <a:ext cx="12193200" cy="9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0" name="Title Placeholder 1"/>
          <p:cNvSpPr>
            <a:spLocks noGrp="1"/>
          </p:cNvSpPr>
          <p:nvPr userDrawn="1">
            <p:ph type="title"/>
          </p:nvPr>
        </p:nvSpPr>
        <p:spPr bwMode="black">
          <a:xfrm>
            <a:off x="395289" y="342001"/>
            <a:ext cx="11399836" cy="79792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"/>
          <p:cNvSpPr>
            <a:spLocks noGrp="1"/>
          </p:cNvSpPr>
          <p:nvPr userDrawn="1">
            <p:ph type="body" idx="1"/>
          </p:nvPr>
        </p:nvSpPr>
        <p:spPr bwMode="black">
          <a:xfrm>
            <a:off x="395289" y="1761173"/>
            <a:ext cx="11399836" cy="41231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 for heading style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DC7892-8C7D-432D-8AE7-F93203949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5289" y="6356350"/>
            <a:ext cx="4451349" cy="14895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69A619E-9348-6B4C-84DD-F3EBCD8062B6}"/>
              </a:ext>
            </a:extLst>
          </p:cNvPr>
          <p:cNvSpPr txBox="1"/>
          <p:nvPr userDrawn="1"/>
        </p:nvSpPr>
        <p:spPr>
          <a:xfrm>
            <a:off x="5846764" y="6353882"/>
            <a:ext cx="49688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8664B718-96F6-E041-A546-F9003A322C21}" type="slidenum">
              <a:rPr lang="en-US" sz="80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pPr algn="ctr"/>
              <a:t>‹#›</a:t>
            </a:fld>
            <a:endParaRPr lang="en-US" sz="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770B0DB-34E4-F34E-BC11-0C8827073405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8061" y="6221719"/>
            <a:ext cx="1112521" cy="327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284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761" r:id="rId19"/>
    <p:sldLayoutId id="2147483762" r:id="rId20"/>
    <p:sldLayoutId id="2147483763" r:id="rId21"/>
    <p:sldLayoutId id="2147483764" r:id="rId22"/>
    <p:sldLayoutId id="2147483765" r:id="rId23"/>
    <p:sldLayoutId id="2147483766" r:id="rId24"/>
    <p:sldLayoutId id="2147483767" r:id="rId25"/>
    <p:sldLayoutId id="2147483768" r:id="rId26"/>
    <p:sldLayoutId id="2147483769" r:id="rId27"/>
    <p:sldLayoutId id="2147483770" r:id="rId28"/>
    <p:sldLayoutId id="2147483771" r:id="rId29"/>
    <p:sldLayoutId id="2147483772" r:id="rId30"/>
    <p:sldLayoutId id="2147483773" r:id="rId31"/>
    <p:sldLayoutId id="2147483774" r:id="rId32"/>
    <p:sldLayoutId id="2147483775" r:id="rId33"/>
    <p:sldLayoutId id="2147483776" r:id="rId34"/>
    <p:sldLayoutId id="2147483777" r:id="rId35"/>
    <p:sldLayoutId id="2147483778" r:id="rId36"/>
    <p:sldLayoutId id="2147483779" r:id="rId37"/>
    <p:sldLayoutId id="2147483780" r:id="rId38"/>
    <p:sldLayoutId id="2147483781" r:id="rId39"/>
    <p:sldLayoutId id="2147483782" r:id="rId40"/>
    <p:sldLayoutId id="2147483783" r:id="rId41"/>
    <p:sldLayoutId id="2147483784" r:id="rId42"/>
    <p:sldLayoutId id="2147483785" r:id="rId43"/>
    <p:sldLayoutId id="2147483786" r:id="rId44"/>
    <p:sldLayoutId id="2147483787" r:id="rId45"/>
    <p:sldLayoutId id="2147483788" r:id="rId46"/>
    <p:sldLayoutId id="2147483789" r:id="rId47"/>
    <p:sldLayoutId id="2147483790" r:id="rId48"/>
  </p:sldLayoutIdLst>
  <p:hf hdr="0" ft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500" b="0" kern="1200" spc="-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11" rtl="0" eaLnBrk="1" latinLnBrk="0" hangingPunct="1">
        <a:lnSpc>
          <a:spcPct val="95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1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1pPr>
      <a:lvl2pPr marL="0" indent="0" algn="l" defTabSz="914411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200" b="0" kern="1200">
          <a:solidFill>
            <a:schemeClr val="accent1"/>
          </a:solidFill>
          <a:latin typeface="+mj-lt"/>
          <a:ea typeface="+mn-ea"/>
          <a:cs typeface="+mn-cs"/>
        </a:defRPr>
      </a:lvl2pPr>
      <a:lvl3pPr marL="144002" indent="-144002" algn="l" defTabSz="914411" rtl="0" eaLnBrk="1" latinLnBrk="0" hangingPunct="1">
        <a:lnSpc>
          <a:spcPct val="95000"/>
        </a:lnSpc>
        <a:spcBef>
          <a:spcPts val="0"/>
        </a:spcBef>
        <a:spcAft>
          <a:spcPts val="2100"/>
        </a:spcAft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TESCO Modern" panose="02000506030000020004" pitchFamily="2" charset="0"/>
          <a:ea typeface="+mn-ea"/>
          <a:cs typeface="+mn-cs"/>
        </a:defRPr>
      </a:lvl3pPr>
      <a:lvl4pPr marL="0" marR="0" indent="0" algn="l" defTabSz="914411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None/>
        <a:tabLst/>
        <a:defRPr sz="1500" kern="1200">
          <a:solidFill>
            <a:schemeClr val="accent1"/>
          </a:solidFill>
          <a:latin typeface="+mj-lt"/>
          <a:ea typeface="+mn-ea"/>
          <a:cs typeface="+mn-cs"/>
        </a:defRPr>
      </a:lvl4pPr>
      <a:lvl5pPr marL="0" indent="0" algn="l" defTabSz="914411" rtl="0" eaLnBrk="1" latinLnBrk="0" hangingPunct="1">
        <a:lnSpc>
          <a:spcPct val="90000"/>
        </a:lnSpc>
        <a:spcBef>
          <a:spcPts val="0"/>
        </a:spcBef>
        <a:spcAft>
          <a:spcPts val="1800"/>
        </a:spcAft>
        <a:buFont typeface="+mj-lt"/>
        <a:buNone/>
        <a:tabLst>
          <a:tab pos="90489" algn="l"/>
        </a:tabLst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249">
          <p15:clr>
            <a:srgbClr val="F26B43"/>
          </p15:clr>
        </p15:guide>
        <p15:guide id="4" pos="743">
          <p15:clr>
            <a:srgbClr val="F26B43"/>
          </p15:clr>
        </p15:guide>
        <p15:guide id="5" pos="857">
          <p15:clr>
            <a:srgbClr val="F26B43"/>
          </p15:clr>
        </p15:guide>
        <p15:guide id="6" pos="1351">
          <p15:clr>
            <a:srgbClr val="F26B43"/>
          </p15:clr>
        </p15:guide>
        <p15:guide id="7" pos="1465">
          <p15:clr>
            <a:srgbClr val="F26B43"/>
          </p15:clr>
        </p15:guide>
        <p15:guide id="8" pos="1959">
          <p15:clr>
            <a:srgbClr val="F26B43"/>
          </p15:clr>
        </p15:guide>
        <p15:guide id="9" pos="2073">
          <p15:clr>
            <a:srgbClr val="F26B43"/>
          </p15:clr>
        </p15:guide>
        <p15:guide id="10" pos="2567">
          <p15:clr>
            <a:srgbClr val="F26B43"/>
          </p15:clr>
        </p15:guide>
        <p15:guide id="11" pos="2681">
          <p15:clr>
            <a:srgbClr val="F26B43"/>
          </p15:clr>
        </p15:guide>
        <p15:guide id="12" pos="3175">
          <p15:clr>
            <a:srgbClr val="F26B43"/>
          </p15:clr>
        </p15:guide>
        <p15:guide id="13" pos="3289">
          <p15:clr>
            <a:srgbClr val="F26B43"/>
          </p15:clr>
        </p15:guide>
        <p15:guide id="14" pos="3783">
          <p15:clr>
            <a:srgbClr val="F26B43"/>
          </p15:clr>
        </p15:guide>
        <p15:guide id="15" pos="3897">
          <p15:clr>
            <a:srgbClr val="F26B43"/>
          </p15:clr>
        </p15:guide>
        <p15:guide id="16" pos="4391">
          <p15:clr>
            <a:srgbClr val="F26B43"/>
          </p15:clr>
        </p15:guide>
        <p15:guide id="17" pos="4505">
          <p15:clr>
            <a:srgbClr val="F26B43"/>
          </p15:clr>
        </p15:guide>
        <p15:guide id="18" pos="4999">
          <p15:clr>
            <a:srgbClr val="F26B43"/>
          </p15:clr>
        </p15:guide>
        <p15:guide id="19" pos="5113">
          <p15:clr>
            <a:srgbClr val="F26B43"/>
          </p15:clr>
        </p15:guide>
        <p15:guide id="20" pos="5605">
          <p15:clr>
            <a:srgbClr val="F26B43"/>
          </p15:clr>
        </p15:guide>
        <p15:guide id="21" pos="5721">
          <p15:clr>
            <a:srgbClr val="F26B43"/>
          </p15:clr>
        </p15:guide>
        <p15:guide id="22" pos="6213">
          <p15:clr>
            <a:srgbClr val="F26B43"/>
          </p15:clr>
        </p15:guide>
        <p15:guide id="23" pos="6329">
          <p15:clr>
            <a:srgbClr val="F26B43"/>
          </p15:clr>
        </p15:guide>
        <p15:guide id="24" pos="6821">
          <p15:clr>
            <a:srgbClr val="F26B43"/>
          </p15:clr>
        </p15:guide>
        <p15:guide id="25" pos="6937">
          <p15:clr>
            <a:srgbClr val="F26B43"/>
          </p15:clr>
        </p15:guide>
        <p15:guide id="26" pos="7429">
          <p15:clr>
            <a:srgbClr val="F26B43"/>
          </p15:clr>
        </p15:guide>
        <p15:guide id="27" orient="horz">
          <p15:clr>
            <a:srgbClr val="F26B43"/>
          </p15:clr>
        </p15:guide>
        <p15:guide id="28" orient="horz" pos="4320">
          <p15:clr>
            <a:srgbClr val="F26B43"/>
          </p15:clr>
        </p15:guide>
        <p15:guide id="29" orient="horz" pos="249">
          <p15:clr>
            <a:srgbClr val="F26B43"/>
          </p15:clr>
        </p15:guide>
        <p15:guide id="31" orient="horz" pos="3709">
          <p15:clr>
            <a:srgbClr val="F26B43"/>
          </p15:clr>
        </p15:guide>
        <p15:guide id="32" orient="horz" pos="110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F81863E-A0A1-4DC2-9601-D5374E9318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4562" y="2195819"/>
            <a:ext cx="11372552" cy="1541457"/>
          </a:xfrm>
        </p:spPr>
        <p:txBody>
          <a:bodyPr/>
          <a:lstStyle/>
          <a:p>
            <a:r>
              <a:rPr lang="en-GB" dirty="0"/>
              <a:t>Tesco Business Solutions</a:t>
            </a:r>
            <a:r>
              <a:rPr lang="en-GB" dirty="0">
                <a:solidFill>
                  <a:schemeClr val="bg2"/>
                </a:solidFill>
              </a:rPr>
              <a:t>.</a:t>
            </a:r>
            <a:br>
              <a:rPr lang="en-GB" dirty="0">
                <a:solidFill>
                  <a:schemeClr val="bg2"/>
                </a:solidFill>
              </a:rPr>
            </a:br>
            <a:br>
              <a:rPr lang="en-GB" dirty="0">
                <a:solidFill>
                  <a:schemeClr val="bg2"/>
                </a:solidFill>
              </a:rPr>
            </a:br>
            <a:r>
              <a:rPr lang="en-GB" sz="2000" dirty="0"/>
              <a:t>Alex Laffan and Barbara Szigeti</a:t>
            </a:r>
            <a:br>
              <a:rPr lang="en-GB" sz="2000" dirty="0"/>
            </a:br>
            <a:br>
              <a:rPr lang="en-GB" sz="2000" dirty="0"/>
            </a:br>
            <a:br>
              <a:rPr lang="en-GB" sz="2000" dirty="0"/>
            </a:br>
            <a:r>
              <a:rPr lang="en-GB" sz="2000" dirty="0"/>
              <a:t>Nomination: Most Vibrant Employer - Hung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573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18E4CBB-F15B-0D19-26AB-AC35CB199F3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0369"/>
          <a:stretch/>
        </p:blipFill>
        <p:spPr>
          <a:xfrm>
            <a:off x="1574799" y="957275"/>
            <a:ext cx="9042400" cy="540040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BE593FA-769C-42E9-A0DC-7B1615501A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455" y="274319"/>
            <a:ext cx="11151089" cy="550876"/>
          </a:xfrm>
        </p:spPr>
        <p:txBody>
          <a:bodyPr/>
          <a:lstStyle/>
          <a:p>
            <a:r>
              <a:rPr lang="en-IN" sz="3200" dirty="0">
                <a:solidFill>
                  <a:srgbClr val="00539F"/>
                </a:solidFill>
                <a:latin typeface="TESCO Modern"/>
              </a:rPr>
              <a:t>Where it all began: March 2019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4723874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1708EFA-0353-F2A9-3371-5AFA69F236ED}"/>
              </a:ext>
            </a:extLst>
          </p:cNvPr>
          <p:cNvSpPr/>
          <p:nvPr/>
        </p:nvSpPr>
        <p:spPr>
          <a:xfrm>
            <a:off x="3535273" y="964733"/>
            <a:ext cx="2867398" cy="1320245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71357BB-CF80-4555-AF6A-684D5A2CD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455" y="274319"/>
            <a:ext cx="11151089" cy="550876"/>
          </a:xfrm>
        </p:spPr>
        <p:txBody>
          <a:bodyPr/>
          <a:lstStyle/>
          <a:p>
            <a:r>
              <a:rPr lang="en-IN" sz="3200" dirty="0">
                <a:solidFill>
                  <a:srgbClr val="00539F"/>
                </a:solidFill>
                <a:latin typeface="TESCO Modern"/>
              </a:rPr>
              <a:t>Our Growth and Value Journey</a:t>
            </a:r>
            <a:endParaRPr lang="en-IN" sz="3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5BB612-54B5-4E0D-9C98-06585B69DEBC}"/>
              </a:ext>
            </a:extLst>
          </p:cNvPr>
          <p:cNvSpPr txBox="1"/>
          <p:nvPr/>
        </p:nvSpPr>
        <p:spPr>
          <a:xfrm>
            <a:off x="2545689" y="6006160"/>
            <a:ext cx="94799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2019/20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E00671-0BBE-42DA-9CFA-FA73AE9F78D8}"/>
              </a:ext>
            </a:extLst>
          </p:cNvPr>
          <p:cNvSpPr txBox="1"/>
          <p:nvPr/>
        </p:nvSpPr>
        <p:spPr>
          <a:xfrm>
            <a:off x="4690313" y="6006160"/>
            <a:ext cx="80470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2020/21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7A746A8-D96E-4C33-B6E6-EB8DADBE184D}"/>
              </a:ext>
            </a:extLst>
          </p:cNvPr>
          <p:cNvSpPr txBox="1"/>
          <p:nvPr/>
        </p:nvSpPr>
        <p:spPr>
          <a:xfrm>
            <a:off x="6856747" y="6006160"/>
            <a:ext cx="78867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2021/22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9E636A-5A05-47D3-A26E-CD640A31B962}"/>
              </a:ext>
            </a:extLst>
          </p:cNvPr>
          <p:cNvSpPr txBox="1"/>
          <p:nvPr/>
        </p:nvSpPr>
        <p:spPr>
          <a:xfrm>
            <a:off x="847835" y="6006160"/>
            <a:ext cx="7694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2018/19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37B4291-39E8-4409-9AE7-C1B68F374ABF}"/>
              </a:ext>
            </a:extLst>
          </p:cNvPr>
          <p:cNvSpPr/>
          <p:nvPr/>
        </p:nvSpPr>
        <p:spPr>
          <a:xfrm>
            <a:off x="652011" y="1101992"/>
            <a:ext cx="1190465" cy="70648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SCO Modern"/>
                <a:ea typeface="+mn-ea"/>
                <a:cs typeface="+mn-cs"/>
              </a:rPr>
              <a:t>Sign off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6318875-D52A-40E6-B95C-E96E944B8475}"/>
              </a:ext>
            </a:extLst>
          </p:cNvPr>
          <p:cNvSpPr/>
          <p:nvPr/>
        </p:nvSpPr>
        <p:spPr>
          <a:xfrm>
            <a:off x="1940185" y="1101993"/>
            <a:ext cx="2090870" cy="69416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SCO Modern"/>
                <a:ea typeface="+mn-ea"/>
                <a:cs typeface="+mn-cs"/>
              </a:rPr>
              <a:t>Wave 1 &amp; hub start-up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9865CA0-EA7F-4648-8A7A-1611D5B53055}"/>
              </a:ext>
            </a:extLst>
          </p:cNvPr>
          <p:cNvSpPr/>
          <p:nvPr/>
        </p:nvSpPr>
        <p:spPr>
          <a:xfrm>
            <a:off x="4129390" y="1101993"/>
            <a:ext cx="2114069" cy="69416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SCO Modern"/>
                <a:ea typeface="+mn-ea"/>
                <a:cs typeface="+mn-cs"/>
              </a:rPr>
              <a:t>Stabilise &amp; transform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4EFB617-6B1D-4259-B2C4-57F33FE8BB97}"/>
              </a:ext>
            </a:extLst>
          </p:cNvPr>
          <p:cNvSpPr/>
          <p:nvPr/>
        </p:nvSpPr>
        <p:spPr>
          <a:xfrm>
            <a:off x="6318739" y="1093327"/>
            <a:ext cx="2020706" cy="69416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SCO Modern"/>
                <a:ea typeface="+mn-ea"/>
                <a:cs typeface="+mn-cs"/>
              </a:rPr>
              <a:t>Wave 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5CEC13E-9C86-4641-BD52-9811512CDEA3}"/>
              </a:ext>
            </a:extLst>
          </p:cNvPr>
          <p:cNvSpPr txBox="1"/>
          <p:nvPr/>
        </p:nvSpPr>
        <p:spPr>
          <a:xfrm>
            <a:off x="8934120" y="6006160"/>
            <a:ext cx="82394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2022/23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A39153-52A4-4552-B45F-DA4902C18455}"/>
              </a:ext>
            </a:extLst>
          </p:cNvPr>
          <p:cNvCxnSpPr>
            <a:cxnSpLocks/>
          </p:cNvCxnSpPr>
          <p:nvPr/>
        </p:nvCxnSpPr>
        <p:spPr>
          <a:xfrm>
            <a:off x="537861" y="841609"/>
            <a:ext cx="0" cy="538124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F54C3BE-EF9D-4F6A-AB1F-FD386DC15FD0}"/>
              </a:ext>
            </a:extLst>
          </p:cNvPr>
          <p:cNvCxnSpPr>
            <a:cxnSpLocks/>
          </p:cNvCxnSpPr>
          <p:nvPr/>
        </p:nvCxnSpPr>
        <p:spPr>
          <a:xfrm>
            <a:off x="1812551" y="5777853"/>
            <a:ext cx="0" cy="44500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B318AB5-CA50-4963-8B6A-3853F2D4F728}"/>
              </a:ext>
            </a:extLst>
          </p:cNvPr>
          <p:cNvCxnSpPr>
            <a:cxnSpLocks/>
          </p:cNvCxnSpPr>
          <p:nvPr/>
        </p:nvCxnSpPr>
        <p:spPr>
          <a:xfrm flipH="1">
            <a:off x="537861" y="6300303"/>
            <a:ext cx="11578860" cy="1637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E04C7C8-595B-4904-9DB9-61597BF88B8C}"/>
              </a:ext>
            </a:extLst>
          </p:cNvPr>
          <p:cNvSpPr/>
          <p:nvPr/>
        </p:nvSpPr>
        <p:spPr>
          <a:xfrm>
            <a:off x="1429671" y="2601677"/>
            <a:ext cx="7503939" cy="3179157"/>
          </a:xfrm>
          <a:custGeom>
            <a:avLst/>
            <a:gdLst>
              <a:gd name="connsiteX0" fmla="*/ 0 w 7503939"/>
              <a:gd name="connsiteY0" fmla="*/ 3179157 h 3179157"/>
              <a:gd name="connsiteX1" fmla="*/ 2962275 w 7503939"/>
              <a:gd name="connsiteY1" fmla="*/ 1474182 h 3179157"/>
              <a:gd name="connsiteX2" fmla="*/ 5895975 w 7503939"/>
              <a:gd name="connsiteY2" fmla="*/ 1169382 h 3179157"/>
              <a:gd name="connsiteX3" fmla="*/ 7315200 w 7503939"/>
              <a:gd name="connsiteY3" fmla="*/ 140682 h 3179157"/>
              <a:gd name="connsiteX4" fmla="*/ 7448550 w 7503939"/>
              <a:gd name="connsiteY4" fmla="*/ 35907 h 3179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03939" h="3179157">
                <a:moveTo>
                  <a:pt x="0" y="3179157"/>
                </a:moveTo>
                <a:cubicBezTo>
                  <a:pt x="989806" y="2494150"/>
                  <a:pt x="1979613" y="1809144"/>
                  <a:pt x="2962275" y="1474182"/>
                </a:cubicBezTo>
                <a:cubicBezTo>
                  <a:pt x="3944938" y="1139219"/>
                  <a:pt x="5170488" y="1391632"/>
                  <a:pt x="5895975" y="1169382"/>
                </a:cubicBezTo>
                <a:cubicBezTo>
                  <a:pt x="6621462" y="947132"/>
                  <a:pt x="7056438" y="329594"/>
                  <a:pt x="7315200" y="140682"/>
                </a:cubicBezTo>
                <a:cubicBezTo>
                  <a:pt x="7573962" y="-48230"/>
                  <a:pt x="7511256" y="-6162"/>
                  <a:pt x="7448550" y="35907"/>
                </a:cubicBez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5F7B365-095C-4F96-BE44-00C25E38B152}"/>
              </a:ext>
            </a:extLst>
          </p:cNvPr>
          <p:cNvCxnSpPr>
            <a:cxnSpLocks/>
          </p:cNvCxnSpPr>
          <p:nvPr/>
        </p:nvCxnSpPr>
        <p:spPr>
          <a:xfrm>
            <a:off x="3956075" y="5777853"/>
            <a:ext cx="0" cy="44500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9F8036E-E448-402E-A6E2-0E7ED88789FD}"/>
              </a:ext>
            </a:extLst>
          </p:cNvPr>
          <p:cNvCxnSpPr>
            <a:cxnSpLocks/>
          </p:cNvCxnSpPr>
          <p:nvPr/>
        </p:nvCxnSpPr>
        <p:spPr>
          <a:xfrm>
            <a:off x="6124213" y="5777853"/>
            <a:ext cx="1" cy="428808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94E7EAB-355F-4262-9F87-3B243CA0F1C2}"/>
              </a:ext>
            </a:extLst>
          </p:cNvPr>
          <p:cNvCxnSpPr>
            <a:cxnSpLocks/>
          </p:cNvCxnSpPr>
          <p:nvPr/>
        </p:nvCxnSpPr>
        <p:spPr>
          <a:xfrm>
            <a:off x="8309677" y="5777853"/>
            <a:ext cx="0" cy="44500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6CB0FA0-53B9-40B4-B93F-6F418ACB1945}"/>
              </a:ext>
            </a:extLst>
          </p:cNvPr>
          <p:cNvCxnSpPr>
            <a:cxnSpLocks/>
          </p:cNvCxnSpPr>
          <p:nvPr/>
        </p:nvCxnSpPr>
        <p:spPr>
          <a:xfrm>
            <a:off x="10312262" y="5764275"/>
            <a:ext cx="0" cy="45858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FE90ACA-70C7-418D-9012-5CFAB9566C0B}"/>
              </a:ext>
            </a:extLst>
          </p:cNvPr>
          <p:cNvSpPr/>
          <p:nvPr/>
        </p:nvSpPr>
        <p:spPr>
          <a:xfrm>
            <a:off x="8397318" y="1093327"/>
            <a:ext cx="3622479" cy="69416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SCO Modern"/>
                <a:ea typeface="+mn-ea"/>
                <a:cs typeface="+mn-cs"/>
              </a:rPr>
              <a:t>Value-add growth and maturity</a:t>
            </a: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43687F14-B6D2-436E-9238-D75FE7E9E111}"/>
              </a:ext>
            </a:extLst>
          </p:cNvPr>
          <p:cNvSpPr/>
          <p:nvPr/>
        </p:nvSpPr>
        <p:spPr>
          <a:xfrm>
            <a:off x="1157806" y="2045372"/>
            <a:ext cx="10745555" cy="3847895"/>
          </a:xfrm>
          <a:custGeom>
            <a:avLst/>
            <a:gdLst>
              <a:gd name="connsiteX0" fmla="*/ 0 w 6162675"/>
              <a:gd name="connsiteY0" fmla="*/ 3028950 h 3028950"/>
              <a:gd name="connsiteX1" fmla="*/ 2181225 w 6162675"/>
              <a:gd name="connsiteY1" fmla="*/ 1676400 h 3028950"/>
              <a:gd name="connsiteX2" fmla="*/ 4419600 w 6162675"/>
              <a:gd name="connsiteY2" fmla="*/ 1390650 h 3028950"/>
              <a:gd name="connsiteX3" fmla="*/ 6162675 w 6162675"/>
              <a:gd name="connsiteY3" fmla="*/ 0 h 3028950"/>
              <a:gd name="connsiteX4" fmla="*/ 6162675 w 6162675"/>
              <a:gd name="connsiteY4" fmla="*/ 0 h 3028950"/>
              <a:gd name="connsiteX0" fmla="*/ 0 w 8167480"/>
              <a:gd name="connsiteY0" fmla="*/ 3540578 h 3540578"/>
              <a:gd name="connsiteX1" fmla="*/ 2181225 w 8167480"/>
              <a:gd name="connsiteY1" fmla="*/ 2188028 h 3540578"/>
              <a:gd name="connsiteX2" fmla="*/ 4419600 w 8167480"/>
              <a:gd name="connsiteY2" fmla="*/ 1902278 h 3540578"/>
              <a:gd name="connsiteX3" fmla="*/ 6162675 w 8167480"/>
              <a:gd name="connsiteY3" fmla="*/ 511628 h 3540578"/>
              <a:gd name="connsiteX4" fmla="*/ 8167480 w 8167480"/>
              <a:gd name="connsiteY4" fmla="*/ 0 h 3540578"/>
              <a:gd name="connsiteX0" fmla="*/ 0 w 8156983"/>
              <a:gd name="connsiteY0" fmla="*/ 3518806 h 3518806"/>
              <a:gd name="connsiteX1" fmla="*/ 2181225 w 8156983"/>
              <a:gd name="connsiteY1" fmla="*/ 2166256 h 3518806"/>
              <a:gd name="connsiteX2" fmla="*/ 4419600 w 8156983"/>
              <a:gd name="connsiteY2" fmla="*/ 1880506 h 3518806"/>
              <a:gd name="connsiteX3" fmla="*/ 6162675 w 8156983"/>
              <a:gd name="connsiteY3" fmla="*/ 489856 h 3518806"/>
              <a:gd name="connsiteX4" fmla="*/ 8156983 w 8156983"/>
              <a:gd name="connsiteY4" fmla="*/ 0 h 3518806"/>
              <a:gd name="connsiteX0" fmla="*/ 0 w 8156983"/>
              <a:gd name="connsiteY0" fmla="*/ 3518806 h 3518806"/>
              <a:gd name="connsiteX1" fmla="*/ 2181225 w 8156983"/>
              <a:gd name="connsiteY1" fmla="*/ 2166256 h 3518806"/>
              <a:gd name="connsiteX2" fmla="*/ 4419600 w 8156983"/>
              <a:gd name="connsiteY2" fmla="*/ 1880506 h 3518806"/>
              <a:gd name="connsiteX3" fmla="*/ 6162675 w 8156983"/>
              <a:gd name="connsiteY3" fmla="*/ 489856 h 3518806"/>
              <a:gd name="connsiteX4" fmla="*/ 8156983 w 8156983"/>
              <a:gd name="connsiteY4" fmla="*/ 0 h 3518806"/>
              <a:gd name="connsiteX0" fmla="*/ 0 w 8156983"/>
              <a:gd name="connsiteY0" fmla="*/ 3519063 h 3519063"/>
              <a:gd name="connsiteX1" fmla="*/ 2181225 w 8156983"/>
              <a:gd name="connsiteY1" fmla="*/ 2166513 h 3519063"/>
              <a:gd name="connsiteX2" fmla="*/ 4419600 w 8156983"/>
              <a:gd name="connsiteY2" fmla="*/ 1880763 h 3519063"/>
              <a:gd name="connsiteX3" fmla="*/ 6162675 w 8156983"/>
              <a:gd name="connsiteY3" fmla="*/ 490113 h 3519063"/>
              <a:gd name="connsiteX4" fmla="*/ 8156983 w 8156983"/>
              <a:gd name="connsiteY4" fmla="*/ 257 h 3519063"/>
              <a:gd name="connsiteX0" fmla="*/ 0 w 10361220"/>
              <a:gd name="connsiteY0" fmla="*/ 3682266 h 3682266"/>
              <a:gd name="connsiteX1" fmla="*/ 2181225 w 10361220"/>
              <a:gd name="connsiteY1" fmla="*/ 2329716 h 3682266"/>
              <a:gd name="connsiteX2" fmla="*/ 4419600 w 10361220"/>
              <a:gd name="connsiteY2" fmla="*/ 2043966 h 3682266"/>
              <a:gd name="connsiteX3" fmla="*/ 6162675 w 10361220"/>
              <a:gd name="connsiteY3" fmla="*/ 653316 h 3682266"/>
              <a:gd name="connsiteX4" fmla="*/ 10361220 w 10361220"/>
              <a:gd name="connsiteY4" fmla="*/ 174 h 368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61220" h="3682266">
                <a:moveTo>
                  <a:pt x="0" y="3682266"/>
                </a:moveTo>
                <a:cubicBezTo>
                  <a:pt x="722312" y="3142516"/>
                  <a:pt x="1444625" y="2602766"/>
                  <a:pt x="2181225" y="2329716"/>
                </a:cubicBezTo>
                <a:cubicBezTo>
                  <a:pt x="2917825" y="2056666"/>
                  <a:pt x="3756025" y="2323366"/>
                  <a:pt x="4419600" y="2043966"/>
                </a:cubicBezTo>
                <a:cubicBezTo>
                  <a:pt x="5083175" y="1764566"/>
                  <a:pt x="6162675" y="653316"/>
                  <a:pt x="6162675" y="653316"/>
                </a:cubicBezTo>
                <a:cubicBezTo>
                  <a:pt x="6827444" y="490031"/>
                  <a:pt x="9077167" y="-10712"/>
                  <a:pt x="10361220" y="174"/>
                </a:cubicBezTo>
              </a:path>
            </a:pathLst>
          </a:cu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47" name="Flowchart: Decision 46">
            <a:extLst>
              <a:ext uri="{FF2B5EF4-FFF2-40B4-BE49-F238E27FC236}">
                <a16:creationId xmlns:a16="http://schemas.microsoft.com/office/drawing/2014/main" id="{9BC6C1F0-428B-477E-BC95-73CF0E426009}"/>
              </a:ext>
            </a:extLst>
          </p:cNvPr>
          <p:cNvSpPr/>
          <p:nvPr/>
        </p:nvSpPr>
        <p:spPr>
          <a:xfrm>
            <a:off x="3007824" y="4409570"/>
            <a:ext cx="195457" cy="337875"/>
          </a:xfrm>
          <a:prstGeom prst="flowChartDecision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48" name="Flowchart: Decision 47">
            <a:extLst>
              <a:ext uri="{FF2B5EF4-FFF2-40B4-BE49-F238E27FC236}">
                <a16:creationId xmlns:a16="http://schemas.microsoft.com/office/drawing/2014/main" id="{BE2EB054-9C07-43E1-B4E3-8F2DA38E30EB}"/>
              </a:ext>
            </a:extLst>
          </p:cNvPr>
          <p:cNvSpPr/>
          <p:nvPr/>
        </p:nvSpPr>
        <p:spPr>
          <a:xfrm>
            <a:off x="1109605" y="5700406"/>
            <a:ext cx="195457" cy="247650"/>
          </a:xfrm>
          <a:prstGeom prst="flowChartDecision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49" name="Flowchart: Decision 48">
            <a:extLst>
              <a:ext uri="{FF2B5EF4-FFF2-40B4-BE49-F238E27FC236}">
                <a16:creationId xmlns:a16="http://schemas.microsoft.com/office/drawing/2014/main" id="{FBC036C8-0E71-4CB6-9C86-43596F7D7E02}"/>
              </a:ext>
            </a:extLst>
          </p:cNvPr>
          <p:cNvSpPr/>
          <p:nvPr/>
        </p:nvSpPr>
        <p:spPr>
          <a:xfrm>
            <a:off x="5020588" y="4125774"/>
            <a:ext cx="195457" cy="337875"/>
          </a:xfrm>
          <a:prstGeom prst="flowChartDecision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3DC3A04-6957-42E8-AB6F-1CE78749B3A7}"/>
              </a:ext>
            </a:extLst>
          </p:cNvPr>
          <p:cNvSpPr txBox="1"/>
          <p:nvPr/>
        </p:nvSpPr>
        <p:spPr>
          <a:xfrm>
            <a:off x="51848" y="6008057"/>
            <a:ext cx="4157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0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06778616-8F5C-43A9-90EF-CF98508C15DE}"/>
              </a:ext>
            </a:extLst>
          </p:cNvPr>
          <p:cNvSpPr txBox="1"/>
          <p:nvPr/>
        </p:nvSpPr>
        <p:spPr>
          <a:xfrm>
            <a:off x="51848" y="5365649"/>
            <a:ext cx="4157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100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FC0E089-CDB9-4D15-8E3E-145A581C4A16}"/>
              </a:ext>
            </a:extLst>
          </p:cNvPr>
          <p:cNvSpPr txBox="1"/>
          <p:nvPr/>
        </p:nvSpPr>
        <p:spPr>
          <a:xfrm>
            <a:off x="51848" y="4486175"/>
            <a:ext cx="4157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200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8655C6C-FE1C-4655-9C19-3260B188A50F}"/>
              </a:ext>
            </a:extLst>
          </p:cNvPr>
          <p:cNvSpPr txBox="1"/>
          <p:nvPr/>
        </p:nvSpPr>
        <p:spPr>
          <a:xfrm>
            <a:off x="51848" y="3598234"/>
            <a:ext cx="4157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300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8B6782A-2960-4D87-94BB-FDA7193FDFFC}"/>
              </a:ext>
            </a:extLst>
          </p:cNvPr>
          <p:cNvSpPr txBox="1"/>
          <p:nvPr/>
        </p:nvSpPr>
        <p:spPr>
          <a:xfrm>
            <a:off x="51848" y="2752626"/>
            <a:ext cx="4157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400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C46D3AE-E3CC-4EF9-9BD0-46E6398980B9}"/>
              </a:ext>
            </a:extLst>
          </p:cNvPr>
          <p:cNvSpPr txBox="1"/>
          <p:nvPr/>
        </p:nvSpPr>
        <p:spPr>
          <a:xfrm>
            <a:off x="-29032" y="1288649"/>
            <a:ext cx="49161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" panose="02000506030000020004" pitchFamily="2" charset="0"/>
                <a:ea typeface="+mn-ea"/>
                <a:cs typeface="+mn-cs"/>
              </a:rPr>
              <a:t>Head-count</a:t>
            </a:r>
            <a:endParaRPr kumimoji="0" lang="en-IN" sz="10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" panose="02000506030000020004" pitchFamily="2" charset="0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26517DC-18A9-4C82-8C2A-78049090F2FF}"/>
              </a:ext>
            </a:extLst>
          </p:cNvPr>
          <p:cNvSpPr/>
          <p:nvPr/>
        </p:nvSpPr>
        <p:spPr>
          <a:xfrm>
            <a:off x="2360187" y="5659327"/>
            <a:ext cx="1175086" cy="3039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A219600-B4E3-4BC2-B24D-81B893709B10}"/>
              </a:ext>
            </a:extLst>
          </p:cNvPr>
          <p:cNvSpPr/>
          <p:nvPr/>
        </p:nvSpPr>
        <p:spPr>
          <a:xfrm>
            <a:off x="4465327" y="5420256"/>
            <a:ext cx="1175086" cy="5430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5E8C220-011D-4F97-BA99-D23A4392B205}"/>
              </a:ext>
            </a:extLst>
          </p:cNvPr>
          <p:cNvSpPr/>
          <p:nvPr/>
        </p:nvSpPr>
        <p:spPr>
          <a:xfrm>
            <a:off x="6663602" y="5151604"/>
            <a:ext cx="1175086" cy="8116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F0A1154A-83FE-45AF-920E-C0B20C52298C}"/>
              </a:ext>
            </a:extLst>
          </p:cNvPr>
          <p:cNvSpPr/>
          <p:nvPr/>
        </p:nvSpPr>
        <p:spPr>
          <a:xfrm>
            <a:off x="8771344" y="4515396"/>
            <a:ext cx="1175086" cy="14390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69BF929-7732-4163-AF27-ECB87B55E988}"/>
              </a:ext>
            </a:extLst>
          </p:cNvPr>
          <p:cNvSpPr txBox="1"/>
          <p:nvPr/>
        </p:nvSpPr>
        <p:spPr>
          <a:xfrm>
            <a:off x="1886253" y="5396101"/>
            <a:ext cx="216038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£1.4m value delivered 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20137F0C-0CEC-4C7A-9DC5-51D930650BFE}"/>
              </a:ext>
            </a:extLst>
          </p:cNvPr>
          <p:cNvSpPr txBox="1"/>
          <p:nvPr/>
        </p:nvSpPr>
        <p:spPr>
          <a:xfrm>
            <a:off x="4125317" y="5134793"/>
            <a:ext cx="194913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£3.5m value delivered 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B7F3A5A-A5EE-4A5C-8D3C-7A1DA6212AA1}"/>
              </a:ext>
            </a:extLst>
          </p:cNvPr>
          <p:cNvSpPr txBox="1"/>
          <p:nvPr/>
        </p:nvSpPr>
        <p:spPr>
          <a:xfrm>
            <a:off x="6198194" y="4853540"/>
            <a:ext cx="201215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£5m value delivered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6EDB4A8-AEF2-448F-A4C2-913D801F025D}"/>
              </a:ext>
            </a:extLst>
          </p:cNvPr>
          <p:cNvSpPr txBox="1"/>
          <p:nvPr/>
        </p:nvSpPr>
        <p:spPr>
          <a:xfrm>
            <a:off x="8333749" y="4186990"/>
            <a:ext cx="20441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£11m value delivered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50" name="Flowchart: Decision 49">
            <a:extLst>
              <a:ext uri="{FF2B5EF4-FFF2-40B4-BE49-F238E27FC236}">
                <a16:creationId xmlns:a16="http://schemas.microsoft.com/office/drawing/2014/main" id="{DE9B54C9-2BE3-4926-811A-4F86E9665347}"/>
              </a:ext>
            </a:extLst>
          </p:cNvPr>
          <p:cNvSpPr/>
          <p:nvPr/>
        </p:nvSpPr>
        <p:spPr>
          <a:xfrm>
            <a:off x="7444543" y="2591416"/>
            <a:ext cx="195457" cy="247650"/>
          </a:xfrm>
          <a:prstGeom prst="flowChartDecision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4" name="Flowchart: Decision 3">
            <a:extLst>
              <a:ext uri="{FF2B5EF4-FFF2-40B4-BE49-F238E27FC236}">
                <a16:creationId xmlns:a16="http://schemas.microsoft.com/office/drawing/2014/main" id="{A98D4701-DB6C-D78E-FD85-137E800FAA04}"/>
              </a:ext>
            </a:extLst>
          </p:cNvPr>
          <p:cNvSpPr/>
          <p:nvPr/>
        </p:nvSpPr>
        <p:spPr>
          <a:xfrm>
            <a:off x="9458103" y="2163772"/>
            <a:ext cx="195457" cy="247650"/>
          </a:xfrm>
          <a:prstGeom prst="flowChartDecision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F45193-2C5D-DC6D-2F1F-2448E782136F}"/>
              </a:ext>
            </a:extLst>
          </p:cNvPr>
          <p:cNvSpPr txBox="1"/>
          <p:nvPr/>
        </p:nvSpPr>
        <p:spPr>
          <a:xfrm>
            <a:off x="10885260" y="5976271"/>
            <a:ext cx="9431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2023/24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A864E77-7094-5D7C-43AB-C56F94F148A9}"/>
              </a:ext>
            </a:extLst>
          </p:cNvPr>
          <p:cNvSpPr/>
          <p:nvPr/>
        </p:nvSpPr>
        <p:spPr>
          <a:xfrm>
            <a:off x="10708573" y="3698240"/>
            <a:ext cx="1175086" cy="22562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01B24D2-142C-49A7-9709-C40F24B91F08}"/>
              </a:ext>
            </a:extLst>
          </p:cNvPr>
          <p:cNvSpPr txBox="1"/>
          <p:nvPr/>
        </p:nvSpPr>
        <p:spPr>
          <a:xfrm>
            <a:off x="10138120" y="3379578"/>
            <a:ext cx="20441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£23m value delivered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58" name="Flowchart: Decision 57">
            <a:extLst>
              <a:ext uri="{FF2B5EF4-FFF2-40B4-BE49-F238E27FC236}">
                <a16:creationId xmlns:a16="http://schemas.microsoft.com/office/drawing/2014/main" id="{F671D9CC-B093-63FB-60A0-2EFC09D45854}"/>
              </a:ext>
            </a:extLst>
          </p:cNvPr>
          <p:cNvSpPr/>
          <p:nvPr/>
        </p:nvSpPr>
        <p:spPr>
          <a:xfrm>
            <a:off x="11331465" y="1921547"/>
            <a:ext cx="195457" cy="247650"/>
          </a:xfrm>
          <a:prstGeom prst="flowChartDecision">
            <a:avLst/>
          </a:prstGeom>
          <a:solidFill>
            <a:schemeClr val="bg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SCO Modern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C09DA4E-8F7C-3C50-B338-CFE1F2777DEB}"/>
              </a:ext>
            </a:extLst>
          </p:cNvPr>
          <p:cNvSpPr txBox="1"/>
          <p:nvPr/>
        </p:nvSpPr>
        <p:spPr>
          <a:xfrm>
            <a:off x="53409" y="1827698"/>
            <a:ext cx="4157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E6767"/>
                </a:solidFill>
                <a:effectLst/>
                <a:uLnTx/>
                <a:uFillTx/>
                <a:latin typeface="TESCO Modern Bold"/>
                <a:ea typeface="+mn-ea"/>
                <a:cs typeface="+mn-cs"/>
              </a:rPr>
              <a:t>500</a:t>
            </a:r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srgbClr val="6E6767"/>
              </a:solidFill>
              <a:effectLst/>
              <a:uLnTx/>
              <a:uFillTx/>
              <a:latin typeface="TESCO Modern Bold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51C28A4-0ADB-367B-9A32-BC6F3106604E}"/>
              </a:ext>
            </a:extLst>
          </p:cNvPr>
          <p:cNvSpPr/>
          <p:nvPr/>
        </p:nvSpPr>
        <p:spPr>
          <a:xfrm>
            <a:off x="10138120" y="3069397"/>
            <a:ext cx="2006626" cy="835805"/>
          </a:xfrm>
          <a:prstGeom prst="ellipse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C435D77-C27A-36EE-1B5F-B972EA751541}"/>
              </a:ext>
            </a:extLst>
          </p:cNvPr>
          <p:cNvSpPr txBox="1"/>
          <p:nvPr/>
        </p:nvSpPr>
        <p:spPr>
          <a:xfrm>
            <a:off x="3998511" y="1983579"/>
            <a:ext cx="204415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ESCO Modern" panose="02000506030000020004" pitchFamily="2" charset="0"/>
              </a:rPr>
              <a:t>Covid-19 Pandemic</a:t>
            </a:r>
            <a:endParaRPr kumimoji="0" lang="en-IN" sz="14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ESCO Modern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183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71357BB-CF80-4555-AF6A-684D5A2CD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455" y="396239"/>
            <a:ext cx="11151089" cy="550876"/>
          </a:xfrm>
        </p:spPr>
        <p:txBody>
          <a:bodyPr/>
          <a:lstStyle/>
          <a:p>
            <a:r>
              <a:rPr lang="en-IN" sz="3200" dirty="0">
                <a:solidFill>
                  <a:srgbClr val="00539F"/>
                </a:solidFill>
                <a:latin typeface="TESCO Modern"/>
              </a:rPr>
              <a:t>How did we deliver £20m+ value?</a:t>
            </a:r>
            <a:endParaRPr lang="en-IN" sz="3200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9A3CD7-893F-1B53-31A4-B5E591B18B96}"/>
              </a:ext>
            </a:extLst>
          </p:cNvPr>
          <p:cNvSpPr/>
          <p:nvPr/>
        </p:nvSpPr>
        <p:spPr>
          <a:xfrm>
            <a:off x="520455" y="1717256"/>
            <a:ext cx="3434798" cy="342348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SCO Modern"/>
                <a:ea typeface="+mn-ea"/>
                <a:cs typeface="+mn-cs"/>
              </a:rPr>
              <a:t>A Continuous Improvement Culture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AAF337AA-E402-AFA7-DF16-1322B87D7848}"/>
              </a:ext>
            </a:extLst>
          </p:cNvPr>
          <p:cNvSpPr/>
          <p:nvPr/>
        </p:nvSpPr>
        <p:spPr>
          <a:xfrm>
            <a:off x="4433490" y="1717256"/>
            <a:ext cx="3434798" cy="342348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SCO Modern"/>
                <a:ea typeface="+mn-ea"/>
                <a:cs typeface="+mn-cs"/>
              </a:rPr>
              <a:t>World-Class Analytics Centre of Excellence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9846AB2-48B1-21C7-8719-7F50DE889E06}"/>
              </a:ext>
            </a:extLst>
          </p:cNvPr>
          <p:cNvSpPr/>
          <p:nvPr/>
        </p:nvSpPr>
        <p:spPr>
          <a:xfrm>
            <a:off x="8346526" y="1717256"/>
            <a:ext cx="3434798" cy="342348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SCO Modern"/>
                <a:ea typeface="+mn-ea"/>
                <a:cs typeface="+mn-cs"/>
              </a:rPr>
              <a:t>Exceptional integration to the core Tesco business</a:t>
            </a:r>
          </a:p>
        </p:txBody>
      </p:sp>
    </p:spTree>
    <p:extLst>
      <p:ext uri="{BB962C8B-B14F-4D97-AF65-F5344CB8AC3E}">
        <p14:creationId xmlns:p14="http://schemas.microsoft.com/office/powerpoint/2010/main" val="3240346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251C7-14BC-5A14-F2C6-56031ED6A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686" y="360046"/>
            <a:ext cx="10918825" cy="590232"/>
          </a:xfrm>
        </p:spPr>
        <p:txBody>
          <a:bodyPr/>
          <a:lstStyle/>
          <a:p>
            <a:r>
              <a:rPr lang="en-GB" dirty="0"/>
              <a:t>What makes us different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D0A0946-0245-7A52-DA8D-AA4DAF8BCD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41" t="64" r="1378"/>
          <a:stretch/>
        </p:blipFill>
        <p:spPr>
          <a:xfrm>
            <a:off x="1366786" y="1065028"/>
            <a:ext cx="9076624" cy="5432926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90022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5F99D71-F544-95B6-A2EB-9FFA55669A6B}"/>
              </a:ext>
            </a:extLst>
          </p:cNvPr>
          <p:cNvSpPr/>
          <p:nvPr/>
        </p:nvSpPr>
        <p:spPr>
          <a:xfrm>
            <a:off x="520454" y="812511"/>
            <a:ext cx="11051785" cy="553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71357BB-CF80-4555-AF6A-684D5A2CD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0454" y="299766"/>
            <a:ext cx="11151089" cy="550876"/>
          </a:xfrm>
        </p:spPr>
        <p:txBody>
          <a:bodyPr/>
          <a:lstStyle/>
          <a:p>
            <a:r>
              <a:rPr lang="en-IN" sz="3200" dirty="0">
                <a:solidFill>
                  <a:srgbClr val="00539F"/>
                </a:solidFill>
                <a:latin typeface="TESCO Modern"/>
              </a:rPr>
              <a:t>Our Success is Through our People</a:t>
            </a:r>
            <a:endParaRPr lang="en-IN" sz="32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FFAC4FA-66E8-DE63-6FE8-817E63F678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874" t="18249" r="4494"/>
          <a:stretch/>
        </p:blipFill>
        <p:spPr>
          <a:xfrm>
            <a:off x="4658945" y="890946"/>
            <a:ext cx="3465886" cy="260478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EBA09D5-29D3-7625-A3F3-18BEA46698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8945" y="3581111"/>
            <a:ext cx="3465886" cy="2599415"/>
          </a:xfrm>
          <a:prstGeom prst="rect">
            <a:avLst/>
          </a:prstGeom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D97CF1D2-7F4C-C230-65A9-9B679691D5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12" b="33810"/>
          <a:stretch/>
        </p:blipFill>
        <p:spPr bwMode="auto">
          <a:xfrm>
            <a:off x="8271488" y="881122"/>
            <a:ext cx="3210355" cy="2599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 descr="A group of women wearing white aprons&#10;&#10;Description automatically generated">
            <a:extLst>
              <a:ext uri="{FF2B5EF4-FFF2-40B4-BE49-F238E27FC236}">
                <a16:creationId xmlns:a16="http://schemas.microsoft.com/office/drawing/2014/main" id="{47345D54-E4F3-3A49-8A4E-2BFF9EE477C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73"/>
          <a:stretch/>
        </p:blipFill>
        <p:spPr>
          <a:xfrm>
            <a:off x="8271487" y="3581111"/>
            <a:ext cx="3210356" cy="2599415"/>
          </a:xfrm>
          <a:prstGeom prst="rect">
            <a:avLst/>
          </a:prstGeom>
        </p:spPr>
      </p:pic>
      <p:sp>
        <p:nvSpPr>
          <p:cNvPr id="22" name="Title 2">
            <a:extLst>
              <a:ext uri="{FF2B5EF4-FFF2-40B4-BE49-F238E27FC236}">
                <a16:creationId xmlns:a16="http://schemas.microsoft.com/office/drawing/2014/main" id="{1164A350-5D7C-4AFF-14D8-09D2BF854E8F}"/>
              </a:ext>
            </a:extLst>
          </p:cNvPr>
          <p:cNvSpPr txBox="1">
            <a:spLocks/>
          </p:cNvSpPr>
          <p:nvPr/>
        </p:nvSpPr>
        <p:spPr bwMode="black">
          <a:xfrm>
            <a:off x="924607" y="1292267"/>
            <a:ext cx="3587681" cy="34608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TESCO Modern" panose="02000506030000020004" pitchFamily="2" charset="0"/>
                <a:ea typeface="+mj-ea"/>
                <a:cs typeface="+mj-cs"/>
              </a:defRPr>
            </a:lvl1pPr>
          </a:lstStyle>
          <a:p>
            <a:r>
              <a:rPr lang="en-IN" sz="1800" dirty="0">
                <a:solidFill>
                  <a:schemeClr val="bg2"/>
                </a:solidFill>
                <a:latin typeface="TESCO Modern"/>
              </a:rPr>
              <a:t>Our Tesco values: </a:t>
            </a:r>
          </a:p>
          <a:p>
            <a:endParaRPr lang="en-IN" sz="1800" dirty="0">
              <a:solidFill>
                <a:schemeClr val="bg2"/>
              </a:solidFill>
              <a:latin typeface="TESCO Moder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800" b="0" dirty="0">
                <a:solidFill>
                  <a:schemeClr val="bg2"/>
                </a:solidFill>
                <a:latin typeface="TESCO Modern"/>
              </a:rPr>
              <a:t>We treat people how they want to be treat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1800" b="0" dirty="0">
              <a:solidFill>
                <a:schemeClr val="bg2"/>
              </a:solidFill>
              <a:latin typeface="TESCO Moder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800" b="0" dirty="0">
                <a:solidFill>
                  <a:schemeClr val="bg2"/>
                </a:solidFill>
                <a:latin typeface="TESCO Modern"/>
              </a:rPr>
              <a:t>Nobody tries harder for custom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1800" b="0" dirty="0">
              <a:solidFill>
                <a:schemeClr val="bg2"/>
              </a:solidFill>
              <a:latin typeface="TESCO Moder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800" b="0" dirty="0">
                <a:solidFill>
                  <a:schemeClr val="bg2"/>
                </a:solidFill>
                <a:latin typeface="TESCO Modern"/>
              </a:rPr>
              <a:t>Every little help makes a big difference</a:t>
            </a:r>
          </a:p>
          <a:p>
            <a:endParaRPr lang="en-IN" sz="1800" dirty="0">
              <a:solidFill>
                <a:schemeClr val="bg2"/>
              </a:solidFill>
              <a:latin typeface="TESCO Modern"/>
            </a:endParaRPr>
          </a:p>
          <a:p>
            <a:r>
              <a:rPr lang="en-IN" sz="1800" dirty="0">
                <a:solidFill>
                  <a:schemeClr val="bg2"/>
                </a:solidFill>
                <a:latin typeface="TESCO Modern"/>
              </a:rPr>
              <a:t>And our promise to our colleagu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1800" dirty="0">
              <a:solidFill>
                <a:schemeClr val="bg2"/>
              </a:solidFill>
              <a:latin typeface="TESCO Moder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800" b="0" dirty="0">
                <a:solidFill>
                  <a:schemeClr val="bg2"/>
                </a:solidFill>
                <a:latin typeface="TESCO Modern"/>
              </a:rPr>
              <a:t>Everyone is welcome at Tesc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1800" b="0" dirty="0">
              <a:solidFill>
                <a:schemeClr val="bg2"/>
              </a:solidFill>
              <a:latin typeface="TESCO Moder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800" b="0" dirty="0">
                <a:solidFill>
                  <a:schemeClr val="bg2"/>
                </a:solidFill>
                <a:latin typeface="TESCO Modern"/>
              </a:rPr>
              <a:t>Your wellbeing fir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N" sz="1800" b="0" dirty="0">
              <a:solidFill>
                <a:schemeClr val="bg2"/>
              </a:solidFill>
              <a:latin typeface="TESCO Moder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800" b="0" dirty="0">
                <a:solidFill>
                  <a:schemeClr val="bg2"/>
                </a:solidFill>
                <a:latin typeface="TESCO Modern"/>
              </a:rPr>
              <a:t>We are a place to get on</a:t>
            </a:r>
            <a:endParaRPr lang="en-IN" sz="18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486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5B5E653-600C-4825-F3A1-694409E158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7690" b="17617"/>
          <a:stretch/>
        </p:blipFill>
        <p:spPr>
          <a:xfrm>
            <a:off x="0" y="714533"/>
            <a:ext cx="12192000" cy="4954747"/>
          </a:xfrm>
          <a:prstGeom prst="rect">
            <a:avLst/>
          </a:prstGeom>
          <a:noFill/>
        </p:spPr>
      </p:pic>
      <p:sp>
        <p:nvSpPr>
          <p:cNvPr id="4" name="AutoShape 2">
            <a:extLst>
              <a:ext uri="{FF2B5EF4-FFF2-40B4-BE49-F238E27FC236}">
                <a16:creationId xmlns:a16="http://schemas.microsoft.com/office/drawing/2014/main" id="{6D3A6B93-29B5-2266-2756-B482287123D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62085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:circle/>
      </p:transition>
    </mc:Choice>
    <mc:Fallback>
      <p:transition spd="slow">
        <p:circl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Tesco Template">
  <a:themeElements>
    <a:clrScheme name="Tesco">
      <a:dk1>
        <a:sysClr val="windowText" lastClr="000000"/>
      </a:dk1>
      <a:lt1>
        <a:sysClr val="window" lastClr="FFFFFF"/>
      </a:lt1>
      <a:dk2>
        <a:srgbClr val="6E6767"/>
      </a:dk2>
      <a:lt2>
        <a:srgbClr val="EE1C2E"/>
      </a:lt2>
      <a:accent1>
        <a:srgbClr val="00539F"/>
      </a:accent1>
      <a:accent2>
        <a:srgbClr val="FFA626"/>
      </a:accent2>
      <a:accent3>
        <a:srgbClr val="FF7D82"/>
      </a:accent3>
      <a:accent4>
        <a:srgbClr val="00BCD4"/>
      </a:accent4>
      <a:accent5>
        <a:srgbClr val="00BFA6"/>
      </a:accent5>
      <a:accent6>
        <a:srgbClr val="CCBAA1"/>
      </a:accent6>
      <a:hlink>
        <a:srgbClr val="6E6767"/>
      </a:hlink>
      <a:folHlink>
        <a:srgbClr val="000000"/>
      </a:folHlink>
    </a:clrScheme>
    <a:fontScheme name="Tesco">
      <a:majorFont>
        <a:latin typeface="TESCO Modern Bold"/>
        <a:ea typeface=""/>
        <a:cs typeface=""/>
      </a:majorFont>
      <a:minorFont>
        <a:latin typeface="TESCO Moder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sco PowerPoint_DRAFT8 .pptx" id="{9DEE4ADD-8F7D-4DF9-9ECB-3B2F638655DA}" vid="{814FB9B7-4887-4CA6-967F-132FA71484B3}"/>
    </a:ext>
  </a:extLst>
</a:theme>
</file>

<file path=ppt/theme/theme2.xml><?xml version="1.0" encoding="utf-8"?>
<a:theme xmlns:a="http://schemas.openxmlformats.org/drawingml/2006/main" name="Tesco Template">
  <a:themeElements>
    <a:clrScheme name="Tesco template palette">
      <a:dk1>
        <a:srgbClr val="00539F"/>
      </a:dk1>
      <a:lt1>
        <a:srgbClr val="FFFFFF"/>
      </a:lt1>
      <a:dk2>
        <a:srgbClr val="6E6767"/>
      </a:dk2>
      <a:lt2>
        <a:srgbClr val="E81C2D"/>
      </a:lt2>
      <a:accent1>
        <a:srgbClr val="00539F"/>
      </a:accent1>
      <a:accent2>
        <a:srgbClr val="AE905F"/>
      </a:accent2>
      <a:accent3>
        <a:srgbClr val="BB38DE"/>
      </a:accent3>
      <a:accent4>
        <a:srgbClr val="00A88E"/>
      </a:accent4>
      <a:accent5>
        <a:srgbClr val="EF6900"/>
      </a:accent5>
      <a:accent6>
        <a:srgbClr val="0A9DE3"/>
      </a:accent6>
      <a:hlink>
        <a:srgbClr val="6E6767"/>
      </a:hlink>
      <a:folHlink>
        <a:srgbClr val="000000"/>
      </a:folHlink>
    </a:clrScheme>
    <a:fontScheme name="MR D - Tesco">
      <a:majorFont>
        <a:latin typeface="TESCO Modern Bold"/>
        <a:ea typeface=""/>
        <a:cs typeface=""/>
      </a:majorFont>
      <a:minorFont>
        <a:latin typeface="TESCO Moder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sco Master PowerPoint Template_2022" id="{6EAA9F42-3A94-5949-8EEA-55F574319772}" vid="{DC3D75E7-83DD-8F4F-A300-F7B951E69E6A}"/>
    </a:ext>
  </a:extLst>
</a:theme>
</file>

<file path=ppt/theme/theme3.xml><?xml version="1.0" encoding="utf-8"?>
<a:theme xmlns:a="http://schemas.openxmlformats.org/drawingml/2006/main" name="4_Tesco Template">
  <a:themeElements>
    <a:clrScheme name="Custom 1">
      <a:dk1>
        <a:sysClr val="windowText" lastClr="000000"/>
      </a:dk1>
      <a:lt1>
        <a:sysClr val="window" lastClr="FFFFFF"/>
      </a:lt1>
      <a:dk2>
        <a:srgbClr val="6E6767"/>
      </a:dk2>
      <a:lt2>
        <a:srgbClr val="FFFFFF"/>
      </a:lt2>
      <a:accent1>
        <a:srgbClr val="00539F"/>
      </a:accent1>
      <a:accent2>
        <a:srgbClr val="FFA626"/>
      </a:accent2>
      <a:accent3>
        <a:srgbClr val="FF7D82"/>
      </a:accent3>
      <a:accent4>
        <a:srgbClr val="00BCD4"/>
      </a:accent4>
      <a:accent5>
        <a:srgbClr val="00BFA6"/>
      </a:accent5>
      <a:accent6>
        <a:srgbClr val="CCBAA1"/>
      </a:accent6>
      <a:hlink>
        <a:srgbClr val="000000"/>
      </a:hlink>
      <a:folHlink>
        <a:srgbClr val="000000"/>
      </a:folHlink>
    </a:clrScheme>
    <a:fontScheme name="Tesco">
      <a:majorFont>
        <a:latin typeface="TESCO Modern Bold"/>
        <a:ea typeface=""/>
        <a:cs typeface=""/>
      </a:majorFont>
      <a:minorFont>
        <a:latin typeface="TESCO Moder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.9 template_zls" id="{69D3FC2A-5D23-458A-8827-A2CD0F4B1C24}" vid="{39F1D5E6-DB6A-4A77-B391-10E19F07BDA4}"/>
    </a:ext>
  </a:extLst>
</a:theme>
</file>

<file path=ppt/theme/theme4.xml><?xml version="1.0" encoding="utf-8"?>
<a:theme xmlns:a="http://schemas.openxmlformats.org/drawingml/2006/main" name="8_Tesco Template">
  <a:themeElements>
    <a:clrScheme name="Tesco template palette">
      <a:dk1>
        <a:srgbClr val="00539F"/>
      </a:dk1>
      <a:lt1>
        <a:srgbClr val="FFFFFF"/>
      </a:lt1>
      <a:dk2>
        <a:srgbClr val="6E6767"/>
      </a:dk2>
      <a:lt2>
        <a:srgbClr val="E81C2D"/>
      </a:lt2>
      <a:accent1>
        <a:srgbClr val="00539F"/>
      </a:accent1>
      <a:accent2>
        <a:srgbClr val="AE905F"/>
      </a:accent2>
      <a:accent3>
        <a:srgbClr val="BB38DE"/>
      </a:accent3>
      <a:accent4>
        <a:srgbClr val="00A88E"/>
      </a:accent4>
      <a:accent5>
        <a:srgbClr val="EF6900"/>
      </a:accent5>
      <a:accent6>
        <a:srgbClr val="0A9DE3"/>
      </a:accent6>
      <a:hlink>
        <a:srgbClr val="6E6767"/>
      </a:hlink>
      <a:folHlink>
        <a:srgbClr val="000000"/>
      </a:folHlink>
    </a:clrScheme>
    <a:fontScheme name="MR D - Tesco">
      <a:majorFont>
        <a:latin typeface="TESCO Modern Bold"/>
        <a:ea typeface=""/>
        <a:cs typeface=""/>
      </a:majorFont>
      <a:minorFont>
        <a:latin typeface="TESCO Modern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sco Master PowerPoint Template_2022_4" id="{A8DD94BF-BC82-E648-98C3-7F194A0B2410}" vid="{4D955F94-6110-F34A-A9AD-8D10A029EF5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68</TotalTime>
  <Words>171</Words>
  <Application>Microsoft Office PowerPoint</Application>
  <PresentationFormat>Widescreen</PresentationFormat>
  <Paragraphs>52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TESCO Modern</vt:lpstr>
      <vt:lpstr>TESCO Modern Bold</vt:lpstr>
      <vt:lpstr>2_Tesco Template</vt:lpstr>
      <vt:lpstr>Tesco Template</vt:lpstr>
      <vt:lpstr>4_Tesco Template</vt:lpstr>
      <vt:lpstr>8_Tesco Template</vt:lpstr>
      <vt:lpstr>think-cell Slide</vt:lpstr>
      <vt:lpstr>Tesco Business Solutions.  Alex Laffan and Barbara Szigeti   Nomination: Most Vibrant Employer - Hungary</vt:lpstr>
      <vt:lpstr>Where it all began: March 2019</vt:lpstr>
      <vt:lpstr>Our Growth and Value Journey</vt:lpstr>
      <vt:lpstr>How did we deliver £20m+ value?</vt:lpstr>
      <vt:lpstr>What makes us different?</vt:lpstr>
      <vt:lpstr>Our Success is Through our Peopl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sco Business Solutions.  Alex Laffan and Barbara Szigeti</dc:title>
  <dc:creator>Laffan, Alex</dc:creator>
  <cp:lastModifiedBy>Laffan, Alex</cp:lastModifiedBy>
  <cp:revision>5</cp:revision>
  <dcterms:created xsi:type="dcterms:W3CDTF">2024-02-29T20:27:15Z</dcterms:created>
  <dcterms:modified xsi:type="dcterms:W3CDTF">2024-03-03T14:4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fa3bcc5-af7f-4e3c-8d4c-726a9a6f8de8_Enabled">
    <vt:lpwstr>true</vt:lpwstr>
  </property>
  <property fmtid="{D5CDD505-2E9C-101B-9397-08002B2CF9AE}" pid="3" name="MSIP_Label_bfa3bcc5-af7f-4e3c-8d4c-726a9a6f8de8_SetDate">
    <vt:lpwstr>2024-02-29T20:43:16Z</vt:lpwstr>
  </property>
  <property fmtid="{D5CDD505-2E9C-101B-9397-08002B2CF9AE}" pid="4" name="MSIP_Label_bfa3bcc5-af7f-4e3c-8d4c-726a9a6f8de8_Method">
    <vt:lpwstr>Standard</vt:lpwstr>
  </property>
  <property fmtid="{D5CDD505-2E9C-101B-9397-08002B2CF9AE}" pid="5" name="MSIP_Label_bfa3bcc5-af7f-4e3c-8d4c-726a9a6f8de8_Name">
    <vt:lpwstr>bfa3bcc5-af7f-4e3c-8d4c-726a9a6f8de8</vt:lpwstr>
  </property>
  <property fmtid="{D5CDD505-2E9C-101B-9397-08002B2CF9AE}" pid="6" name="MSIP_Label_bfa3bcc5-af7f-4e3c-8d4c-726a9a6f8de8_SiteId">
    <vt:lpwstr>3928808b-8a46-426b-8f87-051a36bb2f91</vt:lpwstr>
  </property>
  <property fmtid="{D5CDD505-2E9C-101B-9397-08002B2CF9AE}" pid="7" name="MSIP_Label_bfa3bcc5-af7f-4e3c-8d4c-726a9a6f8de8_ActionId">
    <vt:lpwstr>c1b4f2d2-f35a-4a31-8b0f-afc41256b0e8</vt:lpwstr>
  </property>
  <property fmtid="{D5CDD505-2E9C-101B-9397-08002B2CF9AE}" pid="8" name="MSIP_Label_bfa3bcc5-af7f-4e3c-8d4c-726a9a6f8de8_ContentBits">
    <vt:lpwstr>0</vt:lpwstr>
  </property>
</Properties>
</file>